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814" r:id="rId1"/>
    <p:sldMasterId id="2147483855" r:id="rId2"/>
  </p:sldMasterIdLst>
  <p:notesMasterIdLst>
    <p:notesMasterId r:id="rId51"/>
  </p:notesMasterIdLst>
  <p:handoutMasterIdLst>
    <p:handoutMasterId r:id="rId52"/>
  </p:handoutMasterIdLst>
  <p:sldIdLst>
    <p:sldId id="943" r:id="rId3"/>
    <p:sldId id="1044" r:id="rId4"/>
    <p:sldId id="1073" r:id="rId5"/>
    <p:sldId id="1037" r:id="rId6"/>
    <p:sldId id="1090" r:id="rId7"/>
    <p:sldId id="1091" r:id="rId8"/>
    <p:sldId id="1092" r:id="rId9"/>
    <p:sldId id="1093" r:id="rId10"/>
    <p:sldId id="1054" r:id="rId11"/>
    <p:sldId id="1065" r:id="rId12"/>
    <p:sldId id="1080" r:id="rId13"/>
    <p:sldId id="1056" r:id="rId14"/>
    <p:sldId id="1081" r:id="rId15"/>
    <p:sldId id="1057" r:id="rId16"/>
    <p:sldId id="1082" r:id="rId17"/>
    <p:sldId id="1067" r:id="rId18"/>
    <p:sldId id="1068" r:id="rId19"/>
    <p:sldId id="1069" r:id="rId20"/>
    <p:sldId id="1070" r:id="rId21"/>
    <p:sldId id="1071" r:id="rId22"/>
    <p:sldId id="1072" r:id="rId23"/>
    <p:sldId id="1074" r:id="rId24"/>
    <p:sldId id="1075" r:id="rId25"/>
    <p:sldId id="1076" r:id="rId26"/>
    <p:sldId id="1077" r:id="rId27"/>
    <p:sldId id="1078" r:id="rId28"/>
    <p:sldId id="1079" r:id="rId29"/>
    <p:sldId id="1083" r:id="rId30"/>
    <p:sldId id="1084" r:id="rId31"/>
    <p:sldId id="1085" r:id="rId32"/>
    <p:sldId id="1086" r:id="rId33"/>
    <p:sldId id="1087" r:id="rId34"/>
    <p:sldId id="1088" r:id="rId35"/>
    <p:sldId id="1089" r:id="rId36"/>
    <p:sldId id="1039" r:id="rId37"/>
    <p:sldId id="1035" r:id="rId38"/>
    <p:sldId id="1048" r:id="rId39"/>
    <p:sldId id="1036" r:id="rId40"/>
    <p:sldId id="1050" r:id="rId41"/>
    <p:sldId id="1043" r:id="rId42"/>
    <p:sldId id="1051" r:id="rId43"/>
    <p:sldId id="1045" r:id="rId44"/>
    <p:sldId id="1049" r:id="rId45"/>
    <p:sldId id="1046" r:id="rId46"/>
    <p:sldId id="1052" r:id="rId47"/>
    <p:sldId id="1047" r:id="rId48"/>
    <p:sldId id="1053" r:id="rId49"/>
    <p:sldId id="941" r:id="rId50"/>
  </p:sldIdLst>
  <p:sldSz cx="12192000" cy="6858000"/>
  <p:notesSz cx="6797675" cy="9926638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5613" indent="1588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2813" indent="1588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0013" indent="1588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7213" indent="1588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4247" userDrawn="1">
          <p15:clr>
            <a:srgbClr val="A4A3A4"/>
          </p15:clr>
        </p15:guide>
        <p15:guide id="2" orient="horz" pos="3918" userDrawn="1">
          <p15:clr>
            <a:srgbClr val="A4A3A4"/>
          </p15:clr>
        </p15:guide>
        <p15:guide id="3" orient="horz" pos="1159" userDrawn="1">
          <p15:clr>
            <a:srgbClr val="A4A3A4"/>
          </p15:clr>
        </p15:guide>
        <p15:guide id="4" orient="horz" pos="4156" userDrawn="1">
          <p15:clr>
            <a:srgbClr val="A4A3A4"/>
          </p15:clr>
        </p15:guide>
        <p15:guide id="5" pos="3840" userDrawn="1">
          <p15:clr>
            <a:srgbClr val="A4A3A4"/>
          </p15:clr>
        </p15:guide>
        <p15:guide id="6" pos="211" userDrawn="1">
          <p15:clr>
            <a:srgbClr val="A4A3A4"/>
          </p15:clr>
        </p15:guide>
        <p15:guide id="7" pos="7469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olokomme, Moutloane" initials="MM" lastIdx="18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00"/>
    <a:srgbClr val="00926C"/>
    <a:srgbClr val="00CC99"/>
    <a:srgbClr val="BCEABC"/>
    <a:srgbClr val="A6E4A6"/>
    <a:srgbClr val="86DA86"/>
    <a:srgbClr val="EBF9EB"/>
    <a:srgbClr val="84D684"/>
    <a:srgbClr val="339966"/>
    <a:srgbClr val="00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4239" autoAdjust="0"/>
    <p:restoredTop sz="94127" autoAdjust="0"/>
  </p:normalViewPr>
  <p:slideViewPr>
    <p:cSldViewPr snapToObjects="1">
      <p:cViewPr>
        <p:scale>
          <a:sx n="72" d="100"/>
          <a:sy n="72" d="100"/>
        </p:scale>
        <p:origin x="-76" y="-48"/>
      </p:cViewPr>
      <p:guideLst>
        <p:guide orient="horz" pos="4247"/>
        <p:guide orient="horz" pos="3918"/>
        <p:guide orient="horz" pos="1159"/>
        <p:guide orient="horz" pos="4156"/>
        <p:guide pos="3840"/>
        <p:guide pos="211"/>
        <p:guide pos="746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64" d="100"/>
          <a:sy n="64" d="100"/>
        </p:scale>
        <p:origin x="-2760" y="-114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theme" Target="theme/theme1.xml"/><Relationship Id="rId8" Type="http://schemas.openxmlformats.org/officeDocument/2006/relationships/slide" Target="slides/slide6.xml"/><Relationship Id="rId51" Type="http://schemas.openxmlformats.org/officeDocument/2006/relationships/notesMaster" Target="notesMasters/notesMaster1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ZA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235533353142178"/>
          <c:y val="0"/>
          <c:w val="0.87330202221656872"/>
          <c:h val="1"/>
        </c:manualLayout>
      </c:layout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Overall Q1  Performance Configuration</c:v>
                </c:pt>
              </c:strCache>
            </c:strRef>
          </c:tx>
          <c:dPt>
            <c:idx val="0"/>
            <c:bubble3D val="0"/>
            <c:spPr>
              <a:solidFill>
                <a:srgbClr val="00B050"/>
              </a:solidFill>
            </c:spPr>
          </c:dPt>
          <c:dPt>
            <c:idx val="1"/>
            <c:bubble3D val="0"/>
            <c:spPr>
              <a:solidFill>
                <a:srgbClr val="FF0000"/>
              </a:solidFill>
            </c:spPr>
          </c:dPt>
          <c:dPt>
            <c:idx val="2"/>
            <c:bubble3D val="0"/>
            <c:spPr>
              <a:solidFill>
                <a:srgbClr val="FFFF00"/>
              </a:solidFill>
            </c:spPr>
          </c:dPt>
          <c:cat>
            <c:strRef>
              <c:f>Sheet1!$A$2:$A$4</c:f>
              <c:strCache>
                <c:ptCount val="3"/>
                <c:pt idx="0">
                  <c:v>Achieved</c:v>
                </c:pt>
                <c:pt idx="1">
                  <c:v>Not Achieved </c:v>
                </c:pt>
                <c:pt idx="2">
                  <c:v>Measured per academic year /Annually.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88460000000000194</c:v>
                </c:pt>
                <c:pt idx="1">
                  <c:v>7.6900000000000024E-2</c:v>
                </c:pt>
                <c:pt idx="2">
                  <c:v>3.8500000000000006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zero"/>
    <c:showDLblsOverMax val="0"/>
  </c:chart>
  <c:spPr>
    <a:ln>
      <a:solidFill>
        <a:schemeClr val="accent1"/>
      </a:solidFill>
    </a:ln>
  </c:spPr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2453</cdr:x>
      <cdr:y>0.07573</cdr:y>
    </cdr:from>
    <cdr:to>
      <cdr:x>0.50906</cdr:x>
      <cdr:y>0.15816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4572000" y="282751"/>
          <a:ext cx="910409" cy="307777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600" b="1" dirty="0" smtClean="0"/>
            <a:t>   28%</a:t>
          </a:r>
          <a:endParaRPr lang="en-US" sz="1600" b="1" dirty="0"/>
        </a:p>
      </cdr:txBody>
    </cdr:sp>
  </cdr:relSizeAnchor>
  <cdr:relSizeAnchor xmlns:cdr="http://schemas.openxmlformats.org/drawingml/2006/chartDrawing">
    <cdr:from>
      <cdr:x>0.51887</cdr:x>
      <cdr:y>0.46939</cdr:y>
    </cdr:from>
    <cdr:to>
      <cdr:x>0.65094</cdr:x>
      <cdr:y>0.59184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4191000" y="1752600"/>
          <a:ext cx="1066800" cy="457200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800" b="1" dirty="0" smtClean="0"/>
            <a:t>72%</a:t>
          </a:r>
          <a:endParaRPr lang="en-US" sz="1800" b="1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4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" y="4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t" anchorCtr="0" compatLnSpc="1">
            <a:prstTxWarp prst="textNoShape">
              <a:avLst/>
            </a:prstTxWarp>
          </a:bodyPr>
          <a:lstStyle>
            <a:lvl1pPr algn="l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3142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0248" y="4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t" anchorCtr="0" compatLnSpc="1">
            <a:prstTxWarp prst="textNoShape">
              <a:avLst/>
            </a:prstTxWarp>
          </a:bodyPr>
          <a:lstStyle>
            <a:lvl1pPr algn="r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3142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4" y="9429326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b" anchorCtr="0" compatLnSpc="1">
            <a:prstTxWarp prst="textNoShape">
              <a:avLst/>
            </a:prstTxWarp>
          </a:bodyPr>
          <a:lstStyle>
            <a:lvl1pPr algn="l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3142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0248" y="9429326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b" anchorCtr="0" compatLnSpc="1">
            <a:prstTxWarp prst="textNoShape">
              <a:avLst/>
            </a:prstTxWarp>
          </a:bodyPr>
          <a:lstStyle>
            <a:lvl1pPr algn="r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fld id="{94C88CBE-E755-4996-AEBD-89E8BD814D1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09975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" y="4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t" anchorCtr="0" compatLnSpc="1">
            <a:prstTxWarp prst="textNoShape">
              <a:avLst/>
            </a:prstTxWarp>
          </a:bodyPr>
          <a:lstStyle>
            <a:lvl1pPr algn="l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248" y="4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t" anchorCtr="0" compatLnSpc="1">
            <a:prstTxWarp prst="textNoShape">
              <a:avLst/>
            </a:prstTxWarp>
          </a:bodyPr>
          <a:lstStyle>
            <a:lvl1pPr algn="r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66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4538"/>
            <a:ext cx="661670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29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0063" y="4715482"/>
            <a:ext cx="5437550" cy="446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4" y="9429326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b" anchorCtr="0" compatLnSpc="1">
            <a:prstTxWarp prst="textNoShape">
              <a:avLst/>
            </a:prstTxWarp>
          </a:bodyPr>
          <a:lstStyle>
            <a:lvl1pPr algn="l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29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248" y="9429326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b" anchorCtr="0" compatLnSpc="1">
            <a:prstTxWarp prst="textNoShape">
              <a:avLst/>
            </a:prstTxWarp>
          </a:bodyPr>
          <a:lstStyle>
            <a:lvl1pPr algn="r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fld id="{8105FAE8-03D8-4D98-AAFC-7A059A2391E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37001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56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28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00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72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5826" algn="l" defTabSz="91433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90" algn="l" defTabSz="91433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56" algn="l" defTabSz="91433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21" algn="l" defTabSz="91433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0CE56A3-CE0D-43A0-8814-9EAD3873BAC3}" type="slidenum">
              <a:rPr lang="en-US" smtClean="0">
                <a:solidFill>
                  <a:prstClr val="black"/>
                </a:solidFill>
              </a:rPr>
              <a:pPr/>
              <a:t>0</a:t>
            </a:fld>
            <a:endParaRPr lang="en-US" smtClean="0">
              <a:solidFill>
                <a:prstClr val="black"/>
              </a:solidFill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73050" y="836613"/>
            <a:ext cx="6194425" cy="3484562"/>
          </a:xfrm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7248" y="4715482"/>
            <a:ext cx="4983191" cy="4466002"/>
          </a:xfrm>
          <a:noFill/>
          <a:ln/>
        </p:spPr>
        <p:txBody>
          <a:bodyPr/>
          <a:lstStyle/>
          <a:p>
            <a:pPr eaLnBrk="1" hangingPunct="1"/>
            <a:endParaRPr lang="de-DE" smtClean="0">
              <a:solidFill>
                <a:srgbClr val="000000"/>
              </a:solidFill>
              <a:latin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001500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73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60" r:id="rId4" imgW="0" imgH="0" progId="">
                  <p:embed/>
                </p:oleObj>
              </mc:Choice>
              <mc:Fallback>
                <p:oleObj r:id="rId4" imgW="0" imgH="0" progId="">
                  <p:embed/>
                  <p:pic>
                    <p:nvPicPr>
                      <p:cNvPr id="0" name="AutoShape 125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66" name="Rectangle 22"/>
          <p:cNvSpPr>
            <a:spLocks noGrp="1" noChangeArrowheads="1"/>
          </p:cNvSpPr>
          <p:nvPr>
            <p:ph type="ctrTitle" sz="quarter"/>
          </p:nvPr>
        </p:nvSpPr>
        <p:spPr>
          <a:xfrm>
            <a:off x="1521888" y="3124202"/>
            <a:ext cx="9148233" cy="401648"/>
          </a:xfrm>
          <a:prstGeom prst="rect">
            <a:avLst/>
          </a:prstGeom>
          <a:ln algn="ctr"/>
        </p:spPr>
        <p:txBody>
          <a:bodyPr anchor="ctr"/>
          <a:lstStyle>
            <a:lvl1pPr algn="ctr">
              <a:defRPr sz="2900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6167" name="Rectangle 2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828800" y="4351342"/>
            <a:ext cx="8534400" cy="221599"/>
          </a:xfrm>
          <a:prstGeom prst="rect">
            <a:avLst/>
          </a:prstGeom>
        </p:spPr>
        <p:txBody>
          <a:bodyPr anchor="ctr"/>
          <a:lstStyle>
            <a:lvl1pPr marL="0" indent="0" algn="ctr">
              <a:buFont typeface="Wingdings" pitchFamily="2" charset="2"/>
              <a:buNone/>
              <a:defRPr i="1"/>
            </a:lvl1pPr>
          </a:lstStyle>
          <a:p>
            <a:r>
              <a:rPr lang="en-US" noProof="0" smtClean="0"/>
              <a:t>Click to edit Master subtitle style</a:t>
            </a:r>
            <a:endParaRPr lang="en-GB" noProof="0"/>
          </a:p>
        </p:txBody>
      </p:sp>
      <p:pic>
        <p:nvPicPr>
          <p:cNvPr id="5" name="Picture 6" descr="C:\Users\jmumaw\Desktop\DCS\Pics\Logo.JP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03201" y="6396039"/>
            <a:ext cx="1816100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422419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4" y="596901"/>
            <a:ext cx="11529483" cy="276225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084785" y="2092328"/>
            <a:ext cx="1772793" cy="3545587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pic>
        <p:nvPicPr>
          <p:cNvPr id="5" name="Picture 6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3201" y="6396039"/>
            <a:ext cx="1816100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602238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488243" y="596901"/>
            <a:ext cx="369332" cy="4140200"/>
          </a:xfrm>
          <a:prstGeom prst="rect">
            <a:avLst/>
          </a:prstGeom>
        </p:spPr>
        <p:txBody>
          <a:bodyPr vert="eaVert"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000805" y="596901"/>
            <a:ext cx="1772793" cy="41402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1612024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8084" y="2092330"/>
            <a:ext cx="11529483" cy="132959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pic>
        <p:nvPicPr>
          <p:cNvPr id="4" name="Picture 6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3201" y="6396039"/>
            <a:ext cx="1816100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029419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8084" y="2092330"/>
            <a:ext cx="11529483" cy="132959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pic>
        <p:nvPicPr>
          <p:cNvPr id="4" name="Picture 6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3201" y="6396039"/>
            <a:ext cx="1816100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113962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8084" y="2092330"/>
            <a:ext cx="11529483" cy="132959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pic>
        <p:nvPicPr>
          <p:cNvPr id="4" name="Picture 6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3201" y="6396039"/>
            <a:ext cx="1816100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006716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8084" y="2092331"/>
            <a:ext cx="11529483" cy="132959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28084" y="596902"/>
            <a:ext cx="11529483" cy="276999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DB6A2AF-CE8A-4052-9E11-5A33A14BD12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80BC8BDE-2CDB-4D06-BB98-EFB2EA75D8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71EFF71A-9358-4B52-8F69-D818A29988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0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1F9A7F1-AF4A-4435-83B7-9FD02E3B17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21A303C-E75C-4CB2-B059-CDCB87FAF8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43449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652D422B-ED00-40B0-9165-87546F8A16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6A960440-5F7E-4060-A858-F632AB3D5F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C2DE873D-DFB9-4985-8BF9-F11835D4CA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0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CD25987-3B62-444F-836C-52217B2B36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099C289B-B3FB-499F-8C27-2F4BB1DF23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6964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9ED5997-2C5C-475E-872C-553B60F65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A6B594CB-B266-4610-9584-5998A4742F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3685AC40-F003-4FA9-A42C-BFFD1131BA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0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8B438BE5-E698-48C8-BC01-73323E730E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D9CC469D-2098-45FC-A204-48FD36847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132591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2E4FF29-24FF-4DE5-ADB9-9A804AF448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A898DA1E-348D-4E37-848E-E68E9F06AC5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3771B82F-C8CB-4287-8AE0-4CBB4CA41CB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C1A0E6C2-3321-45C3-AB18-326A30EF32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0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DE729858-C3DE-4AC6-888E-33B4C60408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2C8D0C1C-5108-4F61-8F4F-82344E0E25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49188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8084" y="2092330"/>
            <a:ext cx="11529483" cy="132959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pic>
        <p:nvPicPr>
          <p:cNvPr id="5" name="Picture 6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3201" y="6396039"/>
            <a:ext cx="1816100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379054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A4F2DEA-EB9C-42C7-BFC0-CE95332687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48A942AE-40AA-4307-9C2C-0814D10389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C2A15E67-9C61-4678-8924-1F2A98D2A6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48F47BDE-0CA5-4AC0-9774-66333A03207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F4F71CA5-160B-453D-AC4C-E5A8683CD3B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="" xmlns:a16="http://schemas.microsoft.com/office/drawing/2014/main" id="{E000ECAD-1DC0-4DB8-B23F-2978DA2F7F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0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D5904712-6C20-43C7-BCC8-45796173AF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294997E3-7A47-4FD1-BF6C-E9F8C29D15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6543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03650026-D873-40BB-8914-E0C241D919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70E8D620-46AF-4A8A-813F-7F131B4A93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0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C0AC39B4-11C7-47A4-8F28-647004B924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19310B8E-38B6-4D4D-B39F-3BF1159EAA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11226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B770769F-807C-4E43-BB3A-690A3E8624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0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5DC89C88-05E9-491E-BDFB-6B854351DC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8584F9D3-83AC-4455-AEBE-6F04076F5D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06571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5913A89-D4A0-487D-A149-C9511B1EDB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A9402240-6504-4AE9-83C4-538754923F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473F8497-C477-4825-B17D-5CF8B62B870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224D6A41-4772-4D52-AE79-7A6CFB4D75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0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A8BC2376-8C81-4D02-ABFA-CF217512AB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7AFDEF3E-6D04-4CA1-B76A-1CBDF7DDDE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93916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6778F86-49DF-434F-A916-CCFADFF83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B2ED303B-92A4-4D0B-89F0-E639F369E42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733CEC67-1110-4B8B-98F4-CF156268B63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D3D3C3E4-F4A6-412E-8CE9-25BA63237B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0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18EA047C-50CA-48A9-BB35-8C6233FBF8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925DFE21-9CD8-49CC-AF1B-BDE1011423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78864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90869B78-F27F-495B-A2C2-2793284F67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07064751-C514-4419-85E0-DFFC94D1DFC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33053D27-EB3C-4610-8A69-DCC125D37F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0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545A532C-1325-482A-9DEB-DDFA0FCBEE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8D36A21A-59B8-469A-9D91-EEE5988A2F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11664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="" xmlns:a16="http://schemas.microsoft.com/office/drawing/2014/main" id="{1F475ECF-C99D-4889-88D7-F7E198685AF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03439734-D441-499E-B507-BC7A82D1A12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3565E774-C302-49D4-9659-E21D0FDEA2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0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97F6840-67C3-4206-A20E-75019B3C2B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0DDBE94B-D67A-44B7-923C-887C094513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43415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080296"/>
          </a:xfrm>
          <a:prstGeom prst="rect">
            <a:avLst/>
          </a:prstGeom>
        </p:spPr>
        <p:txBody>
          <a:bodyPr/>
          <a:lstStyle>
            <a:lvl1pPr algn="ctr">
              <a:defRPr sz="3900" b="1" cap="all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8"/>
            <a:ext cx="10363200" cy="276999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2000"/>
            </a:lvl1pPr>
            <a:lvl2pPr marL="457165" indent="0">
              <a:buNone/>
              <a:defRPr sz="1800"/>
            </a:lvl2pPr>
            <a:lvl3pPr marL="914331" indent="0">
              <a:buNone/>
              <a:defRPr sz="1600"/>
            </a:lvl3pPr>
            <a:lvl4pPr marL="1371495" indent="0">
              <a:buNone/>
              <a:defRPr sz="1400"/>
            </a:lvl4pPr>
            <a:lvl5pPr marL="1828660" indent="0">
              <a:buNone/>
              <a:defRPr sz="1400"/>
            </a:lvl5pPr>
            <a:lvl6pPr marL="2285826" indent="0">
              <a:buNone/>
              <a:defRPr sz="1400"/>
            </a:lvl6pPr>
            <a:lvl7pPr marL="2742990" indent="0">
              <a:buNone/>
              <a:defRPr sz="1400"/>
            </a:lvl7pPr>
            <a:lvl8pPr marL="3200156" indent="0">
              <a:buNone/>
              <a:defRPr sz="1400"/>
            </a:lvl8pPr>
            <a:lvl9pPr marL="3657321" indent="0">
              <a:buNone/>
              <a:defRPr sz="14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43578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4" y="596901"/>
            <a:ext cx="11529483" cy="276225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8084" y="2092329"/>
            <a:ext cx="5662083" cy="2188291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3367" y="2092329"/>
            <a:ext cx="5664200" cy="2188291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pic>
        <p:nvPicPr>
          <p:cNvPr id="6" name="Picture 6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3201" y="6396039"/>
            <a:ext cx="1816100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644027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609605"/>
            <a:ext cx="11582400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535118"/>
            <a:ext cx="5691717" cy="66479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65" indent="0">
              <a:buNone/>
              <a:defRPr sz="2000" b="1"/>
            </a:lvl2pPr>
            <a:lvl3pPr marL="914331" indent="0">
              <a:buNone/>
              <a:defRPr sz="1800" b="1"/>
            </a:lvl3pPr>
            <a:lvl4pPr marL="1371495" indent="0">
              <a:buNone/>
              <a:defRPr sz="1600" b="1"/>
            </a:lvl4pPr>
            <a:lvl5pPr marL="1828660" indent="0">
              <a:buNone/>
              <a:defRPr sz="1600" b="1"/>
            </a:lvl5pPr>
            <a:lvl6pPr marL="2285826" indent="0">
              <a:buNone/>
              <a:defRPr sz="1600" b="1"/>
            </a:lvl6pPr>
            <a:lvl7pPr marL="2742990" indent="0">
              <a:buNone/>
              <a:defRPr sz="1600" b="1"/>
            </a:lvl7pPr>
            <a:lvl8pPr marL="3200156" indent="0">
              <a:buNone/>
              <a:defRPr sz="1600" b="1"/>
            </a:lvl8pPr>
            <a:lvl9pPr marL="3657321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2174876"/>
            <a:ext cx="5691717" cy="1895904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3" y="1535118"/>
            <a:ext cx="5693833" cy="66479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65" indent="0">
              <a:buNone/>
              <a:defRPr sz="2000" b="1"/>
            </a:lvl2pPr>
            <a:lvl3pPr marL="914331" indent="0">
              <a:buNone/>
              <a:defRPr sz="1800" b="1"/>
            </a:lvl3pPr>
            <a:lvl4pPr marL="1371495" indent="0">
              <a:buNone/>
              <a:defRPr sz="1600" b="1"/>
            </a:lvl4pPr>
            <a:lvl5pPr marL="1828660" indent="0">
              <a:buNone/>
              <a:defRPr sz="1600" b="1"/>
            </a:lvl5pPr>
            <a:lvl6pPr marL="2285826" indent="0">
              <a:buNone/>
              <a:defRPr sz="1600" b="1"/>
            </a:lvl6pPr>
            <a:lvl7pPr marL="2742990" indent="0">
              <a:buNone/>
              <a:defRPr sz="1600" b="1"/>
            </a:lvl7pPr>
            <a:lvl8pPr marL="3200156" indent="0">
              <a:buNone/>
              <a:defRPr sz="1600" b="1"/>
            </a:lvl8pPr>
            <a:lvl9pPr marL="3657321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3" y="2174876"/>
            <a:ext cx="5693833" cy="1895904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pic>
        <p:nvPicPr>
          <p:cNvPr id="8" name="Picture 6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3201" y="6396039"/>
            <a:ext cx="1816100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311975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4" y="596901"/>
            <a:ext cx="11529483" cy="276225"/>
          </a:xfrm>
          <a:prstGeom prst="rect">
            <a:avLst/>
          </a:prstGeom>
        </p:spPr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GB" noProof="0" dirty="0"/>
          </a:p>
        </p:txBody>
      </p:sp>
      <p:pic>
        <p:nvPicPr>
          <p:cNvPr id="4" name="Picture 6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3201" y="6396039"/>
            <a:ext cx="1816100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422869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72255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6" y="623887"/>
            <a:ext cx="4011084" cy="55399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5" y="623888"/>
            <a:ext cx="6815667" cy="2517612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6" y="1785942"/>
            <a:ext cx="4011084" cy="1994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65" indent="0">
              <a:buNone/>
              <a:defRPr sz="1200"/>
            </a:lvl2pPr>
            <a:lvl3pPr marL="914331" indent="0">
              <a:buNone/>
              <a:defRPr sz="1000"/>
            </a:lvl3pPr>
            <a:lvl4pPr marL="1371495" indent="0">
              <a:buNone/>
              <a:defRPr sz="900"/>
            </a:lvl4pPr>
            <a:lvl5pPr marL="1828660" indent="0">
              <a:buNone/>
              <a:defRPr sz="900"/>
            </a:lvl5pPr>
            <a:lvl6pPr marL="2285826" indent="0">
              <a:buNone/>
              <a:defRPr sz="900"/>
            </a:lvl6pPr>
            <a:lvl7pPr marL="2742990" indent="0">
              <a:buNone/>
              <a:defRPr sz="900"/>
            </a:lvl7pPr>
            <a:lvl8pPr marL="3200156" indent="0">
              <a:buNone/>
              <a:defRPr sz="900"/>
            </a:lvl8pPr>
            <a:lvl9pPr marL="3657321" indent="0">
              <a:buNone/>
              <a:defRPr sz="9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pic>
        <p:nvPicPr>
          <p:cNvPr id="6" name="Picture 6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3201" y="6396039"/>
            <a:ext cx="1816100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7578404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5"/>
            <a:ext cx="7315200" cy="276999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431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65" indent="0">
              <a:buNone/>
              <a:defRPr sz="2800"/>
            </a:lvl2pPr>
            <a:lvl3pPr marL="914331" indent="0">
              <a:buNone/>
              <a:defRPr sz="2400"/>
            </a:lvl3pPr>
            <a:lvl4pPr marL="1371495" indent="0">
              <a:buNone/>
              <a:defRPr sz="2000"/>
            </a:lvl4pPr>
            <a:lvl5pPr marL="1828660" indent="0">
              <a:buNone/>
              <a:defRPr sz="2000"/>
            </a:lvl5pPr>
            <a:lvl6pPr marL="2285826" indent="0">
              <a:buNone/>
              <a:defRPr sz="2000"/>
            </a:lvl6pPr>
            <a:lvl7pPr marL="2742990" indent="0">
              <a:buNone/>
              <a:defRPr sz="2000"/>
            </a:lvl7pPr>
            <a:lvl8pPr marL="3200156" indent="0">
              <a:buNone/>
              <a:defRPr sz="2000"/>
            </a:lvl8pPr>
            <a:lvl9pPr marL="3657321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42"/>
            <a:ext cx="7315200" cy="1994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65" indent="0">
              <a:buNone/>
              <a:defRPr sz="1200"/>
            </a:lvl2pPr>
            <a:lvl3pPr marL="914331" indent="0">
              <a:buNone/>
              <a:defRPr sz="1000"/>
            </a:lvl3pPr>
            <a:lvl4pPr marL="1371495" indent="0">
              <a:buNone/>
              <a:defRPr sz="900"/>
            </a:lvl4pPr>
            <a:lvl5pPr marL="1828660" indent="0">
              <a:buNone/>
              <a:defRPr sz="900"/>
            </a:lvl5pPr>
            <a:lvl6pPr marL="2285826" indent="0">
              <a:buNone/>
              <a:defRPr sz="900"/>
            </a:lvl6pPr>
            <a:lvl7pPr marL="2742990" indent="0">
              <a:buNone/>
              <a:defRPr sz="900"/>
            </a:lvl7pPr>
            <a:lvl8pPr marL="3200156" indent="0">
              <a:buNone/>
              <a:defRPr sz="900"/>
            </a:lvl8pPr>
            <a:lvl9pPr marL="3657321" indent="0">
              <a:buNone/>
              <a:defRPr sz="9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pic>
        <p:nvPicPr>
          <p:cNvPr id="6" name="Picture 6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3201" y="6396039"/>
            <a:ext cx="1816100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752403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Rectangle 28"/>
          <p:cNvSpPr>
            <a:spLocks noChangeArrowheads="1"/>
          </p:cNvSpPr>
          <p:nvPr/>
        </p:nvSpPr>
        <p:spPr bwMode="auto">
          <a:xfrm>
            <a:off x="11533717" y="6705601"/>
            <a:ext cx="353483" cy="1381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r" eaLnBrk="0" hangingPunct="0">
              <a:defRPr/>
            </a:pPr>
            <a:fld id="{851172FB-5EEA-4105-882C-8D3DDB9655BA}" type="slidenum">
              <a:rPr lang="en-GB" sz="900">
                <a:solidFill>
                  <a:srgbClr val="77787B"/>
                </a:solidFill>
              </a:rPr>
              <a:pPr algn="r" eaLnBrk="0" hangingPunct="0">
                <a:defRPr/>
              </a:pPr>
              <a:t>‹#›</a:t>
            </a:fld>
            <a:endParaRPr lang="en-GB" sz="900" dirty="0">
              <a:solidFill>
                <a:srgbClr val="7778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2599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17" r:id="rId3"/>
    <p:sldLayoutId id="2147483818" r:id="rId4"/>
    <p:sldLayoutId id="2147483819" r:id="rId5"/>
    <p:sldLayoutId id="2147483820" r:id="rId6"/>
    <p:sldLayoutId id="2147483821" r:id="rId7"/>
    <p:sldLayoutId id="2147483822" r:id="rId8"/>
    <p:sldLayoutId id="2147483823" r:id="rId9"/>
    <p:sldLayoutId id="2147483824" r:id="rId10"/>
    <p:sldLayoutId id="2147483825" r:id="rId11"/>
    <p:sldLayoutId id="2147483853" r:id="rId12"/>
    <p:sldLayoutId id="2147483854" r:id="rId13"/>
    <p:sldLayoutId id="2147483851" r:id="rId14"/>
    <p:sldLayoutId id="2147483867" r:id="rId15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5pPr>
      <a:lvl6pPr marL="45716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6pPr>
      <a:lvl7pPr marL="91433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7pPr>
      <a:lvl8pPr marL="137149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8pPr>
      <a:lvl9pPr marL="182866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266700" indent="-266700" algn="l" rtl="0" eaLnBrk="0" fontAlgn="base" hangingPunct="0">
        <a:lnSpc>
          <a:spcPct val="90000"/>
        </a:lnSpc>
        <a:spcBef>
          <a:spcPct val="90000"/>
        </a:spcBef>
        <a:spcAft>
          <a:spcPct val="0"/>
        </a:spcAft>
        <a:buClr>
          <a:schemeClr val="bg2"/>
        </a:buClr>
        <a:buFont typeface="Wingdings" pitchFamily="2" charset="2"/>
        <a:buChar char="n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458788" indent="-1889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Clr>
          <a:schemeClr val="bg2"/>
        </a:buClr>
        <a:buFont typeface="Arial" charset="0"/>
        <a:buChar char="•"/>
        <a:defRPr sz="1600">
          <a:solidFill>
            <a:schemeClr val="tx1"/>
          </a:solidFill>
          <a:latin typeface="+mn-lt"/>
          <a:cs typeface="+mn-cs"/>
        </a:defRPr>
      </a:lvl2pPr>
      <a:lvl3pPr marL="623888" indent="-161925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bg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793750" indent="-166688" algn="l" rtl="0" eaLnBrk="0" fontAlgn="base" hangingPunct="0">
        <a:lnSpc>
          <a:spcPct val="90000"/>
        </a:lnSpc>
        <a:spcBef>
          <a:spcPct val="10000"/>
        </a:spcBef>
        <a:spcAft>
          <a:spcPct val="0"/>
        </a:spcAft>
        <a:buClr>
          <a:schemeClr val="bg2"/>
        </a:buClr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4pPr>
      <a:lvl5pPr marL="955675" indent="-15875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5pPr>
      <a:lvl6pPr marL="1414356" indent="-1603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6pPr>
      <a:lvl7pPr marL="1871520" indent="-1603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7pPr>
      <a:lvl8pPr marL="2328685" indent="-1603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8pPr>
      <a:lvl9pPr marL="2785851" indent="-1603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5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1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5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0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26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0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56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1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280F6169-38FE-4D43-931B-75DCBAF308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0D67E026-CA9D-4CE7-8F50-786D9315F1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5B87351D-0748-4ECA-8FA1-525802B73D6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Verdana" panose="020B0604030504040204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20/2020</a:t>
            </a:fld>
            <a:endParaRPr lang="en-US">
              <a:solidFill>
                <a:prstClr val="black">
                  <a:tint val="75000"/>
                </a:prstClr>
              </a:solidFill>
              <a:latin typeface="Verdana" panose="020B0604030504040204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D3C33111-923A-4592-97A8-3CFB72DB7D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>
                  <a:tint val="75000"/>
                </a:prstClr>
              </a:solidFill>
              <a:latin typeface="Verdana" panose="020B0604030504040204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B40A99A5-B9C1-4B3F-B652-92C5DD77A4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  <a:latin typeface="Verdana" panose="020B0604030504040204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Verdana" panose="020B0604030504040204"/>
            </a:endParaRPr>
          </a:p>
        </p:txBody>
      </p:sp>
    </p:spTree>
    <p:extLst>
      <p:ext uri="{BB962C8B-B14F-4D97-AF65-F5344CB8AC3E}">
        <p14:creationId xmlns:p14="http://schemas.microsoft.com/office/powerpoint/2010/main" val="26685308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57" r:id="rId2"/>
    <p:sldLayoutId id="2147483858" r:id="rId3"/>
    <p:sldLayoutId id="2147483859" r:id="rId4"/>
    <p:sldLayoutId id="2147483860" r:id="rId5"/>
    <p:sldLayoutId id="2147483861" r:id="rId6"/>
    <p:sldLayoutId id="2147483862" r:id="rId7"/>
    <p:sldLayoutId id="2147483863" r:id="rId8"/>
    <p:sldLayoutId id="2147483864" r:id="rId9"/>
    <p:sldLayoutId id="2147483865" r:id="rId10"/>
    <p:sldLayoutId id="214748386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5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Slide1 Template_1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700"/>
            <a:ext cx="12179300" cy="685800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203404" y="914400"/>
            <a:ext cx="5968796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600" b="1" kern="0" dirty="0">
                <a:solidFill>
                  <a:srgbClr val="00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NATIONAL MANAGEMENT QUARTERLY</a:t>
            </a:r>
          </a:p>
          <a:p>
            <a:pPr algn="ctr"/>
            <a:r>
              <a:rPr lang="en-US" sz="3600" b="1" kern="0" dirty="0">
                <a:solidFill>
                  <a:srgbClr val="00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PERFORMANCE </a:t>
            </a:r>
            <a:r>
              <a:rPr lang="en-US" sz="3600" b="1" kern="0" dirty="0" smtClean="0">
                <a:solidFill>
                  <a:srgbClr val="00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REVIEW: </a:t>
            </a:r>
            <a:endParaRPr lang="en-US" sz="3600" b="1" kern="0" dirty="0">
              <a:solidFill>
                <a:srgbClr val="0066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  <a:cs typeface="Arial"/>
            </a:endParaRPr>
          </a:p>
          <a:p>
            <a:pPr algn="ctr"/>
            <a:r>
              <a:rPr lang="en-US" sz="3600" b="1" kern="0" dirty="0" smtClean="0">
                <a:solidFill>
                  <a:srgbClr val="00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KZN </a:t>
            </a:r>
            <a:r>
              <a:rPr lang="en-US" sz="3600" b="1" kern="0" dirty="0">
                <a:solidFill>
                  <a:srgbClr val="00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REGION</a:t>
            </a:r>
            <a:endParaRPr lang="en-US" sz="3600" dirty="0">
              <a:solidFill>
                <a:srgbClr val="0066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03405" y="4419601"/>
            <a:ext cx="452099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kern="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/>
              </a:rPr>
              <a:t>Presented by: DC TK  Mthombeni</a:t>
            </a:r>
          </a:p>
          <a:p>
            <a:r>
              <a:rPr lang="en-GB" sz="2000" kern="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/>
              </a:rPr>
              <a:t>Date: 24 November 2020</a:t>
            </a:r>
            <a:endParaRPr lang="en-US" sz="2000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223307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231934" y="-5131266"/>
            <a:ext cx="1440000" cy="11870531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3103" y="0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>
              <a:spcAft>
                <a:spcPts val="600"/>
              </a:spcAft>
            </a:pPr>
            <a:r>
              <a:rPr lang="en-ZA" sz="24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centage of offenders participating in GET per academic year</a:t>
            </a:r>
            <a:endParaRPr lang="en-GB" sz="3200" kern="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03200" y="1663700"/>
            <a:ext cx="8928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1. REGIONAL TARGET VERSUS PERFORMANCE FOR </a:t>
            </a:r>
            <a:r>
              <a:rPr lang="en-GB" sz="1800" b="1" kern="0" dirty="0" smtClean="0">
                <a:solidFill>
                  <a:prstClr val="black"/>
                </a:solidFill>
              </a:rPr>
              <a:t>2</a:t>
            </a:r>
            <a:r>
              <a:rPr lang="en-GB" sz="1800" b="1" kern="0" baseline="30000" dirty="0" smtClean="0">
                <a:solidFill>
                  <a:prstClr val="black"/>
                </a:solidFill>
              </a:rPr>
              <a:t>nd</a:t>
            </a:r>
            <a:r>
              <a:rPr lang="en-GB" sz="1800" b="1" kern="0" dirty="0" smtClean="0">
                <a:solidFill>
                  <a:prstClr val="black"/>
                </a:solidFill>
              </a:rPr>
              <a:t> QUARTER </a:t>
            </a:r>
            <a:r>
              <a:rPr lang="en-GB" sz="1800" b="1" kern="0" dirty="0">
                <a:solidFill>
                  <a:prstClr val="black"/>
                </a:solidFill>
              </a:rPr>
              <a:t>(2020/2021) 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103872" y="4105155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2. 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MANAGEMENT AREA LEVEL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4442780"/>
              </p:ext>
            </p:extLst>
          </p:nvPr>
        </p:nvGraphicFramePr>
        <p:xfrm>
          <a:off x="266700" y="2058644"/>
          <a:ext cx="11658600" cy="1066800"/>
        </p:xfrm>
        <a:graphic>
          <a:graphicData uri="http://schemas.openxmlformats.org/drawingml/2006/table">
            <a:tbl>
              <a:tblPr firstRow="1" bandRow="1"/>
              <a:tblGrid>
                <a:gridCol w="1295400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72363429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971921"/>
                    </a:ext>
                  </a:extLst>
                </a:gridCol>
              </a:tblGrid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REGION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APRIL</a:t>
                      </a:r>
                      <a:r>
                        <a:rPr lang="en-ZA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2020</a:t>
                      </a:r>
                      <a:br>
                        <a:rPr lang="en-ZA" sz="110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APRIL</a:t>
                      </a:r>
                      <a:r>
                        <a:rPr lang="en-ZA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MAY</a:t>
                      </a:r>
                      <a:r>
                        <a:rPr lang="en-ZA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2020</a:t>
                      </a:r>
                      <a:br>
                        <a:rPr lang="en-ZA" sz="110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MAY</a:t>
                      </a:r>
                      <a:r>
                        <a:rPr lang="en-ZA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JUNE 2020 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JUNE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Q2 TARGET: 2020-2021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375654">
                <a:tc>
                  <a:txBody>
                    <a:bodyPr/>
                    <a:lstStyle/>
                    <a:p>
                      <a:r>
                        <a:rPr lang="en-ZA" dirty="0" smtClean="0">
                          <a:solidFill>
                            <a:schemeClr val="tx1"/>
                          </a:solidFill>
                        </a:rPr>
                        <a:t>Kwa</a:t>
                      </a:r>
                      <a:r>
                        <a:rPr lang="en-ZA" baseline="0" dirty="0" smtClean="0">
                          <a:solidFill>
                            <a:schemeClr val="tx1"/>
                          </a:solidFill>
                        </a:rPr>
                        <a:t> Zulu Natal</a:t>
                      </a:r>
                      <a:endParaRPr lang="en-ZA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026/1282 = 80.003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69/69 = 100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026/1282 = 80.03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40/84 = 47.62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026/1282 = 80.03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65/562 =47.155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80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25/238</a:t>
                      </a:r>
                    </a:p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= 52.31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7960662"/>
              </p:ext>
            </p:extLst>
          </p:nvPr>
        </p:nvGraphicFramePr>
        <p:xfrm>
          <a:off x="228600" y="4571999"/>
          <a:ext cx="11658600" cy="1812421"/>
        </p:xfrm>
        <a:graphic>
          <a:graphicData uri="http://schemas.openxmlformats.org/drawingml/2006/table">
            <a:tbl>
              <a:tblPr firstRow="1" bandRow="1"/>
              <a:tblGrid>
                <a:gridCol w="1295400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72363429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971921"/>
                    </a:ext>
                  </a:extLst>
                </a:gridCol>
              </a:tblGrid>
              <a:tr h="471300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APRIL</a:t>
                      </a:r>
                      <a:r>
                        <a:rPr lang="en-ZA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2020</a:t>
                      </a:r>
                      <a:br>
                        <a:rPr lang="en-ZA" sz="110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APRIL</a:t>
                      </a:r>
                      <a:r>
                        <a:rPr lang="en-ZA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MAY</a:t>
                      </a:r>
                      <a:r>
                        <a:rPr lang="en-ZA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2020</a:t>
                      </a:r>
                      <a:br>
                        <a:rPr lang="en-ZA" sz="110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MAY</a:t>
                      </a:r>
                      <a:r>
                        <a:rPr lang="en-ZA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JUNE 2020 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JUNE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Q2 TARGET: 2020-2021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443101">
                <a:tc>
                  <a:txBody>
                    <a:bodyPr/>
                    <a:lstStyle/>
                    <a:p>
                      <a:r>
                        <a:rPr lang="en-ZA" sz="1100" b="1" dirty="0" smtClean="0">
                          <a:solidFill>
                            <a:schemeClr val="tx1"/>
                          </a:solidFill>
                        </a:rPr>
                        <a:t>Durban</a:t>
                      </a:r>
                      <a:endParaRPr lang="en-ZA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62/327 = 80.12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69/69 = 100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62/327 =</a:t>
                      </a:r>
                      <a:r>
                        <a:rPr lang="en-US" sz="1100" b="1" baseline="0" dirty="0" smtClean="0">
                          <a:solidFill>
                            <a:schemeClr val="tx1"/>
                          </a:solidFill>
                        </a:rPr>
                        <a:t> 80.12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0/0 = 0.00%</a:t>
                      </a:r>
                    </a:p>
                    <a:p>
                      <a:pPr algn="ctr"/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62/327 =</a:t>
                      </a:r>
                      <a:r>
                        <a:rPr lang="en-US" sz="1100" b="1" baseline="0" dirty="0" smtClean="0">
                          <a:solidFill>
                            <a:schemeClr val="tx1"/>
                          </a:solidFill>
                        </a:rPr>
                        <a:t> 80.12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30/75 = 40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smtClean="0">
                          <a:solidFill>
                            <a:schemeClr val="accent4"/>
                          </a:solidFill>
                        </a:rPr>
                        <a:t>0/0 = 0.00%</a:t>
                      </a:r>
                      <a:endParaRPr lang="en-US" sz="1100" b="1" dirty="0" smtClean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0/0 = 0.00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471300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Empangeni</a:t>
                      </a:r>
                      <a:endParaRPr lang="en-US" sz="1100" b="1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160/200 = 80%</a:t>
                      </a:r>
                      <a:endParaRPr lang="en-US" sz="1100" b="1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0/0 = 0.00%</a:t>
                      </a:r>
                      <a:endParaRPr lang="en-US" sz="1100" b="1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160/200 = 80%</a:t>
                      </a:r>
                      <a:endParaRPr lang="en-US" sz="1100" b="1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0/0 = 0.00%</a:t>
                      </a:r>
                    </a:p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160/200 = 80%</a:t>
                      </a:r>
                      <a:endParaRPr lang="en-US" sz="1100" b="1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60/200 = 30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smtClean="0">
                          <a:solidFill>
                            <a:schemeClr val="accent4"/>
                          </a:solidFill>
                        </a:rPr>
                        <a:t>0/0 = 0.00%</a:t>
                      </a:r>
                      <a:endParaRPr lang="en-US" sz="1100" b="1" dirty="0" smtClean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smtClean="0">
                          <a:solidFill>
                            <a:schemeClr val="accent4"/>
                          </a:solidFill>
                        </a:rPr>
                        <a:t>0/0 = 0.00%</a:t>
                      </a:r>
                      <a:endParaRPr lang="en-US" sz="1100" b="1" dirty="0" smtClean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414899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Glencoe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56/70 = 80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0/0 = 0.00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56/70 = 80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0/0 = 0.00%</a:t>
                      </a:r>
                    </a:p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56/70 = 80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4/27 = 88089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smtClean="0">
                          <a:solidFill>
                            <a:schemeClr val="accent4"/>
                          </a:solidFill>
                        </a:rPr>
                        <a:t>0/0 = 0.00%</a:t>
                      </a:r>
                      <a:endParaRPr lang="en-US" sz="1100" b="1" dirty="0" smtClean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0/0 = 0.00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90066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231934" y="-5131266"/>
            <a:ext cx="1440000" cy="11870531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3103" y="0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>
              <a:spcAft>
                <a:spcPts val="600"/>
              </a:spcAft>
            </a:pPr>
            <a:r>
              <a:rPr lang="en-ZA" sz="24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centage of offenders participating in GET per academic year</a:t>
            </a:r>
            <a:endParaRPr lang="en-GB" sz="3200" kern="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28600" y="1524000"/>
            <a:ext cx="88115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2. 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MANAGEMENT AREA LEVEL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7960662"/>
              </p:ext>
            </p:extLst>
          </p:nvPr>
        </p:nvGraphicFramePr>
        <p:xfrm>
          <a:off x="228600" y="1893332"/>
          <a:ext cx="11658600" cy="4310875"/>
        </p:xfrm>
        <a:graphic>
          <a:graphicData uri="http://schemas.openxmlformats.org/drawingml/2006/table">
            <a:tbl>
              <a:tblPr firstRow="1" bandRow="1"/>
              <a:tblGrid>
                <a:gridCol w="1295400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72363429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971921"/>
                    </a:ext>
                  </a:extLst>
                </a:gridCol>
              </a:tblGrid>
              <a:tr h="1161620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APRIL</a:t>
                      </a:r>
                      <a:r>
                        <a:rPr lang="en-ZA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2020</a:t>
                      </a:r>
                      <a:br>
                        <a:rPr lang="en-ZA" sz="110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APRIL</a:t>
                      </a:r>
                      <a:r>
                        <a:rPr lang="en-ZA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MAY</a:t>
                      </a:r>
                      <a:r>
                        <a:rPr lang="en-ZA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2020</a:t>
                      </a:r>
                      <a:br>
                        <a:rPr lang="en-ZA" sz="110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MAY</a:t>
                      </a:r>
                      <a:r>
                        <a:rPr lang="en-ZA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JUNE 2020 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JUNE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Q2 TARGET: 2020-2021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755048">
                <a:tc>
                  <a:txBody>
                    <a:bodyPr/>
                    <a:lstStyle/>
                    <a:p>
                      <a:pPr marL="0" marR="0" lvl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Kokstad</a:t>
                      </a:r>
                    </a:p>
                    <a:p>
                      <a:endParaRPr lang="en-ZA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48/185 = 80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0/0 = 0.00%</a:t>
                      </a:r>
                    </a:p>
                    <a:p>
                      <a:pPr algn="ctr"/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48/185 = 80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0/0 = 0.00%</a:t>
                      </a:r>
                    </a:p>
                    <a:p>
                      <a:pPr algn="ctr"/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48/185 = 80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55/148 = 37.16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0/0 = 0.00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0/0 = 0.00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685800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Ncome</a:t>
                      </a:r>
                      <a:endParaRPr lang="en-US" sz="1100" b="1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220/275 = 80%</a:t>
                      </a:r>
                      <a:endParaRPr lang="en-US" sz="1100" b="1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0/0 = 0.00%</a:t>
                      </a:r>
                    </a:p>
                    <a:p>
                      <a:pPr algn="ctr"/>
                      <a:endParaRPr lang="en-US" sz="1100" b="1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220/275 = 80%</a:t>
                      </a:r>
                      <a:endParaRPr lang="en-US" sz="1100" b="1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40/84 = 47.62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220/275 = 80%</a:t>
                      </a:r>
                      <a:endParaRPr lang="en-US" sz="1100" b="1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36/52 = 69.23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smtClean="0">
                          <a:solidFill>
                            <a:schemeClr val="accent4"/>
                          </a:solidFill>
                        </a:rPr>
                        <a:t>0/0 = 0.00%</a:t>
                      </a:r>
                      <a:endParaRPr lang="en-US" sz="1100" b="1" dirty="0" smtClean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smtClean="0">
                          <a:solidFill>
                            <a:schemeClr val="accent4"/>
                          </a:solidFill>
                        </a:rPr>
                        <a:t>0/0 = 0.00%</a:t>
                      </a:r>
                      <a:endParaRPr lang="en-US" sz="1100" b="1" dirty="0" smtClean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Pietermaritzburg</a:t>
                      </a:r>
                      <a:endParaRPr lang="en-US" sz="1100" b="1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124/155 = 80%</a:t>
                      </a:r>
                      <a:endParaRPr lang="en-US" sz="1100" b="1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0/0 = 0.00%</a:t>
                      </a:r>
                      <a:endParaRPr lang="en-US" sz="1100" b="1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124/155 = 80%</a:t>
                      </a:r>
                      <a:endParaRPr lang="en-US" sz="1100" b="1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0/0 = 0.00%</a:t>
                      </a:r>
                    </a:p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124/155 = 80%</a:t>
                      </a:r>
                      <a:endParaRPr lang="en-US" sz="1100" b="1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48/48 = 100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smtClean="0">
                          <a:solidFill>
                            <a:schemeClr val="accent4"/>
                          </a:solidFill>
                        </a:rPr>
                        <a:t>0/0 = 0.00%</a:t>
                      </a:r>
                      <a:endParaRPr lang="en-US" sz="1100" b="1" dirty="0" smtClean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0/0 = 0.00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1022607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Waterval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56/70 = 80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0/0 = 0.00%</a:t>
                      </a:r>
                    </a:p>
                    <a:p>
                      <a:pPr algn="ctr"/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56/70 = 80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0/0 = 0.00%</a:t>
                      </a:r>
                    </a:p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56/70 = 80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2/12 = 100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smtClean="0">
                          <a:solidFill>
                            <a:schemeClr val="accent4"/>
                          </a:solidFill>
                        </a:rPr>
                        <a:t>0/0 = 0.00%</a:t>
                      </a:r>
                      <a:endParaRPr lang="en-US" sz="1100" b="1" dirty="0" smtClean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0/0 = 0.00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90066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304234" y="-5287565"/>
            <a:ext cx="1143000" cy="1171813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9369" y="1143000"/>
            <a:ext cx="117054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 smtClean="0">
                <a:solidFill>
                  <a:prstClr val="black"/>
                </a:solidFill>
              </a:rPr>
              <a:t>3. </a:t>
            </a:r>
            <a:r>
              <a:rPr lang="en-GB" sz="1800" b="1" kern="0" dirty="0">
                <a:solidFill>
                  <a:prstClr val="black"/>
                </a:solidFill>
              </a:rPr>
              <a:t>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CORRECTIONAL CENTRE LEVEL </a:t>
            </a:r>
            <a:r>
              <a:rPr lang="en-GB" sz="1800" b="1" kern="0" dirty="0" smtClean="0"/>
              <a:t>MANAGEMENT AREA TO </a:t>
            </a:r>
            <a:endParaRPr lang="en-GB" sz="1800" b="1" kern="0" dirty="0" smtClean="0"/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/>
              <a:t> </a:t>
            </a:r>
            <a:r>
              <a:rPr lang="en-GB" sz="1800" b="1" kern="0" dirty="0" smtClean="0"/>
              <a:t>    </a:t>
            </a:r>
            <a:r>
              <a:rPr lang="en-GB" sz="1800" b="1" kern="0" dirty="0" smtClean="0"/>
              <a:t>POPULATE</a:t>
            </a:r>
            <a:endParaRPr lang="en-ZA" sz="1800" b="1" kern="0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9536120"/>
              </p:ext>
            </p:extLst>
          </p:nvPr>
        </p:nvGraphicFramePr>
        <p:xfrm>
          <a:off x="228599" y="1789333"/>
          <a:ext cx="11811002" cy="4901030"/>
        </p:xfrm>
        <a:graphic>
          <a:graphicData uri="http://schemas.openxmlformats.org/drawingml/2006/table">
            <a:tbl>
              <a:tblPr firstRow="1" bandRow="1"/>
              <a:tblGrid>
                <a:gridCol w="1687286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687286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27601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2098562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687286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687286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687286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</a:tblGrid>
              <a:tr h="696205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 2020/21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UARTER 2</a:t>
                      </a:r>
                      <a:b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S THAT CONTRIBUTED TOWARDS UNDER-ACHIEVEMENT 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ASONS FOR UNDER</a:t>
                      </a:r>
                    </a:p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OOT CAUSES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SSOCIATED RISKS 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990158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0/0 = 0.00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0/0 = 0.00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100" b="1" dirty="0" smtClean="0">
                          <a:solidFill>
                            <a:schemeClr val="tx1"/>
                          </a:solidFill>
                        </a:rPr>
                        <a:t>Durban</a:t>
                      </a:r>
                      <a:endParaRPr lang="en-ZA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buFont typeface="Arial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Youth Centre CC  - Usethubeni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Only AET Level 4 was in attendance during the months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Covid 19 Risk Adjusted Strategy Regulation</a:t>
                      </a:r>
                      <a:endParaRPr lang="en-ZA" sz="10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Offenders not attending classes </a:t>
                      </a:r>
                      <a:r>
                        <a:rPr lang="en-US" sz="1100" baseline="0" smtClean="0">
                          <a:solidFill>
                            <a:schemeClr val="tx1"/>
                          </a:solidFill>
                        </a:rPr>
                        <a:t> may resort to gangsterism which will increase the number of assaults and unnatural death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990158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0/0 = 0.00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0/0 = 0.00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Empangeni</a:t>
                      </a:r>
                      <a:endParaRPr lang="en-US" sz="1100" b="1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>
                        <a:buFont typeface="Arial" pitchFamily="34" charset="0"/>
                        <a:buNone/>
                      </a:pPr>
                      <a:endParaRPr lang="en-US" sz="1100" dirty="0" smtClean="0">
                        <a:solidFill>
                          <a:schemeClr val="accent4"/>
                        </a:solidFill>
                      </a:endParaRPr>
                    </a:p>
                    <a:p>
                      <a:pPr algn="l">
                        <a:buFont typeface="Arial" pitchFamily="34" charset="0"/>
                        <a:buNone/>
                      </a:pPr>
                      <a:endParaRPr lang="en-US" sz="1100" dirty="0" smtClean="0">
                        <a:solidFill>
                          <a:schemeClr val="accent4"/>
                        </a:solidFill>
                      </a:endParaRPr>
                    </a:p>
                    <a:p>
                      <a:pPr algn="l">
                        <a:buFont typeface="Arial" pitchFamily="34" charset="0"/>
                        <a:buNone/>
                      </a:pPr>
                      <a:r>
                        <a:rPr lang="en-US" sz="1100" dirty="0" smtClean="0">
                          <a:solidFill>
                            <a:schemeClr val="accent4"/>
                          </a:solidFill>
                        </a:rPr>
                        <a:t>Qalakabusha CC </a:t>
                      </a:r>
                      <a:endParaRPr lang="en-US" sz="1100" dirty="0">
                        <a:solidFill>
                          <a:schemeClr val="accent4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Only AET Level 4 was in attendance during the months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smtClean="0">
                          <a:solidFill>
                            <a:schemeClr val="tx1"/>
                          </a:solidFill>
                        </a:rPr>
                        <a:t>Covid 19 Risk Adjusted Strategy Regulation</a:t>
                      </a:r>
                      <a:endParaRPr lang="en-ZA" sz="10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Offenders not attending classes </a:t>
                      </a:r>
                      <a:r>
                        <a:rPr lang="en-US" sz="1100" baseline="0" smtClean="0">
                          <a:solidFill>
                            <a:schemeClr val="tx1"/>
                          </a:solidFill>
                        </a:rPr>
                        <a:t> may resort to gangsterism which will increase the number of assaults and unnatural death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1934945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0/0 = 0.00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0/0 = 0.00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Glencoe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Glencoe CC</a:t>
                      </a:r>
                    </a:p>
                    <a:p>
                      <a:pPr algn="l"/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Escourt CC</a:t>
                      </a:r>
                    </a:p>
                    <a:p>
                      <a:pPr algn="l"/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l"/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l"/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Only AET Level 4 was in attendance during the months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Covid 19 Risk Adjusted Strategy Regulation</a:t>
                      </a:r>
                      <a:endParaRPr lang="en-ZA" sz="10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Offenders not attending classes 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may resort to gangsterism which will increase the number of assaults and unnatural death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24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>
              <a:spcAft>
                <a:spcPts val="600"/>
              </a:spcAft>
            </a:pPr>
            <a:r>
              <a:rPr lang="en-ZA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centage of offenders participating in GET per academic year</a:t>
            </a:r>
            <a:endParaRPr lang="en-GB" sz="3200" kern="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9572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304234" y="-5287565"/>
            <a:ext cx="1143000" cy="1171813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9369" y="1143000"/>
            <a:ext cx="117054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 smtClean="0">
                <a:solidFill>
                  <a:prstClr val="black"/>
                </a:solidFill>
              </a:rPr>
              <a:t>3. </a:t>
            </a:r>
            <a:r>
              <a:rPr lang="en-GB" sz="1600" b="1" kern="0" dirty="0">
                <a:solidFill>
                  <a:prstClr val="black"/>
                </a:solidFill>
              </a:rPr>
              <a:t>SOURCE OF </a:t>
            </a:r>
            <a:r>
              <a:rPr lang="en-GB" sz="1600" b="1" kern="0" dirty="0" smtClean="0">
                <a:solidFill>
                  <a:prstClr val="black"/>
                </a:solidFill>
              </a:rPr>
              <a:t>UNDER-ACHIEVEMENT AT CORRECTIONAL CENTRE LEVEL </a:t>
            </a:r>
            <a:r>
              <a:rPr lang="en-GB" sz="1600" b="1" kern="0" dirty="0" smtClean="0"/>
              <a:t>MANAGEMENT AREA TO POPULATE</a:t>
            </a:r>
            <a:endParaRPr lang="en-ZA" sz="1600" b="1" kern="0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9536120"/>
              </p:ext>
            </p:extLst>
          </p:nvPr>
        </p:nvGraphicFramePr>
        <p:xfrm>
          <a:off x="29371" y="1512333"/>
          <a:ext cx="12162629" cy="5188949"/>
        </p:xfrm>
        <a:graphic>
          <a:graphicData uri="http://schemas.openxmlformats.org/drawingml/2006/table">
            <a:tbl>
              <a:tblPr firstRow="1" bandRow="1"/>
              <a:tblGrid>
                <a:gridCol w="1490904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569371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728761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2161039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737518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737518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737518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</a:tblGrid>
              <a:tr h="607746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 2020/21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UARTER 2</a:t>
                      </a:r>
                      <a:b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S THAT CONTRIBUTED TOWARDS UNDER-ACHIEVEMENT 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ASONS FOR UNDER</a:t>
                      </a:r>
                    </a:p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OOT CAUSES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SSOCIATED RISKS 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1077112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0/0 = 0.00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0/0 = 0.00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Kokstad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Ebongweni CC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Kokstad Medium CC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Port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Shepstone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>
                        <a:buFont typeface="Arial" pitchFamily="34" charset="0"/>
                        <a:buNone/>
                      </a:pP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ZA" sz="110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In line with Covid-19 lockdown regulations, only Level four learners attended classes.</a:t>
                      </a:r>
                      <a:endParaRPr lang="en-US" sz="1100" dirty="0" smtClean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smtClean="0">
                          <a:solidFill>
                            <a:schemeClr val="tx1"/>
                          </a:solidFill>
                        </a:rPr>
                        <a:t>Covid 19 Risk Adjusted Strategy Regulation</a:t>
                      </a:r>
                      <a:endParaRPr lang="en-ZA" sz="10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Offenders not attending classes 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may resort to gangsterism which will increase the number of assaults and unnatural death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1077112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0/0 = 0.00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0/0 = 0.00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Ncome</a:t>
                      </a:r>
                      <a:endParaRPr lang="en-US" sz="1100" b="1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>
                        <a:buFont typeface="Arial" pitchFamily="34" charset="0"/>
                        <a:buNone/>
                      </a:pPr>
                      <a:endParaRPr lang="en-US" sz="1100" dirty="0" smtClean="0">
                        <a:solidFill>
                          <a:schemeClr val="accent4"/>
                        </a:solidFill>
                      </a:endParaRPr>
                    </a:p>
                    <a:p>
                      <a:pPr algn="l">
                        <a:buFont typeface="Arial" pitchFamily="34" charset="0"/>
                        <a:buNone/>
                      </a:pPr>
                      <a:r>
                        <a:rPr lang="en-US" sz="1100" dirty="0" smtClean="0">
                          <a:solidFill>
                            <a:schemeClr val="accent4"/>
                          </a:solidFill>
                        </a:rPr>
                        <a:t>All the Centres</a:t>
                      </a:r>
                      <a:endParaRPr lang="en-US" sz="1100" dirty="0">
                        <a:solidFill>
                          <a:schemeClr val="accent4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ZA" sz="110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Only AET Level 4 was in attendance during the months</a:t>
                      </a:r>
                      <a:endParaRPr lang="en-US" sz="1100" dirty="0" smtClean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smtClean="0">
                          <a:solidFill>
                            <a:schemeClr val="tx1"/>
                          </a:solidFill>
                        </a:rPr>
                        <a:t>Covid 19 Risk Adjusted Strategy Regulation</a:t>
                      </a:r>
                      <a:endParaRPr lang="en-ZA" sz="10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Offenders not attending classes </a:t>
                      </a:r>
                      <a:r>
                        <a:rPr lang="en-US" sz="1100" baseline="0" smtClean="0">
                          <a:solidFill>
                            <a:schemeClr val="tx1"/>
                          </a:solidFill>
                        </a:rPr>
                        <a:t> may resort to gangsterism which will increase the number of assaults and unnatural death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1077112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0/0 = 0.00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0/0 = 0.00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Pietermaritzburg</a:t>
                      </a:r>
                      <a:endParaRPr lang="en-US" sz="1100" b="1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Medium A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Medium B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Sevontein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ZA" sz="110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Only AET Level 4 was in attendance during the months</a:t>
                      </a:r>
                      <a:endParaRPr lang="en-US" sz="1100" dirty="0" smtClean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smtClean="0">
                          <a:solidFill>
                            <a:schemeClr val="tx1"/>
                          </a:solidFill>
                        </a:rPr>
                        <a:t>Covid 19 Risk Adjusted Strategy Regulation</a:t>
                      </a:r>
                      <a:endParaRPr lang="en-ZA" sz="10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Offenders not attending classes </a:t>
                      </a:r>
                      <a:r>
                        <a:rPr lang="en-US" sz="1100" baseline="0" smtClean="0">
                          <a:solidFill>
                            <a:schemeClr val="tx1"/>
                          </a:solidFill>
                        </a:rPr>
                        <a:t> may resort to gangsterism which will increase the number of assaults and unnatural death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127798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0/0 = 0.00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0/0 = 0.00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Waterval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l"/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ll the Centr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ZA" sz="110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Only AET Level 4 was in attendance during the months </a:t>
                      </a:r>
                      <a:endParaRPr lang="en-US" sz="1100" dirty="0" smtClean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Covid 19 Risk Adjusted Strategy Regulation</a:t>
                      </a:r>
                      <a:endParaRPr lang="en-ZA" sz="10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Offenders not attending classes 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may resort to gangsterism which will increase the number of assaults and unnatural deaths.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24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>
              <a:spcAft>
                <a:spcPts val="600"/>
              </a:spcAft>
            </a:pPr>
            <a:r>
              <a:rPr lang="en-ZA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centage of offenders participating in GET per academic year</a:t>
            </a:r>
            <a:endParaRPr lang="en-GB" sz="3200" kern="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9572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231936" y="-5215268"/>
            <a:ext cx="1440000" cy="11870535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15900" y="1440000"/>
            <a:ext cx="11442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 smtClean="0">
                <a:solidFill>
                  <a:prstClr val="black"/>
                </a:solidFill>
              </a:rPr>
              <a:t>     4. PROJECT PLAN TO ADDRESS UNDER PERFORMANCE – </a:t>
            </a:r>
            <a:r>
              <a:rPr lang="en-GB" sz="1800" b="1" kern="0" dirty="0" smtClean="0"/>
              <a:t>MANAGEMENT AREA TO POPULATE</a:t>
            </a:r>
            <a:endParaRPr lang="en-ZA" sz="1800" b="1" kern="0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5766876"/>
              </p:ext>
            </p:extLst>
          </p:nvPr>
        </p:nvGraphicFramePr>
        <p:xfrm>
          <a:off x="215900" y="1981201"/>
          <a:ext cx="11671302" cy="4114800"/>
        </p:xfrm>
        <a:graphic>
          <a:graphicData uri="http://schemas.openxmlformats.org/drawingml/2006/table">
            <a:tbl>
              <a:tblPr firstRow="1" bandRow="1"/>
              <a:tblGrid>
                <a:gridCol w="1945217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</a:tblGrid>
              <a:tr h="872629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CTIVITY / ACTIVITIES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SPONSIBILITY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IME FRAM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ROGRESS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1000956">
                <a:tc>
                  <a:txBody>
                    <a:bodyPr/>
                    <a:lstStyle/>
                    <a:p>
                      <a:r>
                        <a:rPr lang="en-ZA" sz="1100" b="1" dirty="0" smtClean="0">
                          <a:solidFill>
                            <a:schemeClr val="tx1"/>
                          </a:solidFill>
                        </a:rPr>
                        <a:t>Durban</a:t>
                      </a:r>
                      <a:endParaRPr lang="en-ZA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buFont typeface="Arial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Effective marketing of GET educational</a:t>
                      </a:r>
                      <a:r>
                        <a:rPr lang="en-ZA" sz="1200" b="0" i="0" u="none" strike="noStrike" baseline="0" dirty="0" smtClean="0">
                          <a:solidFill>
                            <a:schemeClr val="tx1"/>
                          </a:solidFill>
                          <a:latin typeface="Calibri"/>
                        </a:rPr>
                        <a:t> </a:t>
                      </a:r>
                      <a:r>
                        <a:rPr lang="en-ZA" sz="1200" b="0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programme</a:t>
                      </a:r>
                      <a:endParaRPr lang="en-ZA" sz="1200" b="0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Area Coordinator Dev &amp; Care and Regional Head Dev &amp; Care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October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2020 and ongoing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Phasing in of other levels  be resumed in line with the DCS COVID-19  risk adjusted strategy</a:t>
                      </a:r>
                      <a:endParaRPr lang="en-ZA" sz="1200" b="0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1283278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Kokstad</a:t>
                      </a:r>
                      <a:endParaRPr lang="en-US" sz="1100" b="1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buFont typeface="Arial" pitchFamily="34" charset="0"/>
                        <a:buChar char="•"/>
                      </a:pPr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ZA" sz="1200" b="0" i="0" u="none" strike="noStrike" smtClean="0">
                          <a:solidFill>
                            <a:schemeClr val="tx1"/>
                          </a:solidFill>
                          <a:latin typeface="Calibri"/>
                        </a:rPr>
                        <a:t>Effective marketing of GET educational</a:t>
                      </a:r>
                      <a:r>
                        <a:rPr lang="en-ZA" sz="1200" b="0" i="0" u="none" strike="noStrike" baseline="0" smtClean="0">
                          <a:solidFill>
                            <a:schemeClr val="tx1"/>
                          </a:solidFill>
                          <a:latin typeface="Calibri"/>
                        </a:rPr>
                        <a:t> </a:t>
                      </a:r>
                      <a:r>
                        <a:rPr lang="en-ZA" sz="1200" b="0" i="0" u="none" strike="noStrike" smtClean="0">
                          <a:solidFill>
                            <a:schemeClr val="tx1"/>
                          </a:solidFill>
                          <a:latin typeface="Calibri"/>
                        </a:rPr>
                        <a:t>programme</a:t>
                      </a:r>
                      <a:endParaRPr lang="en-ZA" sz="1200" b="0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Area Coordinator Dev &amp; Care and Regional Head Dev &amp; Care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October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2020 and ongoing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ZA" sz="1200" b="0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Phasing in of other levels  be resumed in line with the DCS COVID-19  risk adjusted strategy</a:t>
                      </a:r>
                      <a:endParaRPr lang="en-ZA" sz="1200" b="0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957937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Waterval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buFont typeface="Arial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Effective marketing of GET educational</a:t>
                      </a:r>
                      <a:r>
                        <a:rPr lang="en-ZA" sz="1200" b="0" i="0" u="none" strike="noStrike" baseline="0" dirty="0" smtClean="0">
                          <a:solidFill>
                            <a:schemeClr val="tx1"/>
                          </a:solidFill>
                          <a:latin typeface="Calibri"/>
                        </a:rPr>
                        <a:t> </a:t>
                      </a:r>
                      <a:r>
                        <a:rPr lang="en-ZA" sz="1200" b="0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programme</a:t>
                      </a:r>
                      <a:endParaRPr lang="en-ZA" sz="1200" b="0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rea Coordinator Dev &amp; Care and Regional Head Dev &amp; Care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October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2020 and ongoing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Phasing in of other levels  be resumed in line with the DCS COVID-19  risk adjusted strategy</a:t>
                      </a:r>
                      <a:endParaRPr lang="en-ZA" sz="1200" b="0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PLAN TO ADDRESS UNDER PERFORMANCE:</a:t>
            </a:r>
          </a:p>
          <a:p>
            <a:pPr>
              <a:spcAft>
                <a:spcPts val="600"/>
              </a:spcAft>
            </a:pPr>
            <a:r>
              <a:rPr lang="en-ZA" sz="24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centage of offenders participating in GET per academic year</a:t>
            </a:r>
            <a:endParaRPr lang="en-GB" sz="3200" kern="0" dirty="0">
              <a:solidFill>
                <a:srgbClr val="FFFFFF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7075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231936" y="-5215268"/>
            <a:ext cx="1440000" cy="11870535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15900" y="1440000"/>
            <a:ext cx="11442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 smtClean="0">
                <a:solidFill>
                  <a:prstClr val="black"/>
                </a:solidFill>
              </a:rPr>
              <a:t>     4. PROJECT PLAN TO ADDRESS UNDER PERFORMANCE – </a:t>
            </a:r>
            <a:r>
              <a:rPr lang="en-GB" sz="1800" b="1" kern="0" dirty="0" smtClean="0"/>
              <a:t>MANAGEMENT AREA TO POPULATE</a:t>
            </a:r>
            <a:endParaRPr lang="en-ZA" sz="1800" b="1" kern="0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5766876"/>
              </p:ext>
            </p:extLst>
          </p:nvPr>
        </p:nvGraphicFramePr>
        <p:xfrm>
          <a:off x="215900" y="1981201"/>
          <a:ext cx="11671302" cy="4506673"/>
        </p:xfrm>
        <a:graphic>
          <a:graphicData uri="http://schemas.openxmlformats.org/drawingml/2006/table">
            <a:tbl>
              <a:tblPr firstRow="1" bandRow="1"/>
              <a:tblGrid>
                <a:gridCol w="1945217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</a:tblGrid>
              <a:tr h="533399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CTIVITY / ACTIVITIES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SPONSIBILITY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IME FRAM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ROGRESS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1000956">
                <a:tc>
                  <a:txBody>
                    <a:bodyPr/>
                    <a:lstStyle/>
                    <a:p>
                      <a:pPr marL="0" marR="0" lvl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Kokstad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buFont typeface="Arial" pitchFamily="34" charset="0"/>
                        <a:buChar char="•"/>
                      </a:pPr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smtClean="0">
                          <a:solidFill>
                            <a:schemeClr val="tx1"/>
                          </a:solidFill>
                          <a:latin typeface="Calibri"/>
                        </a:rPr>
                        <a:t>Effective marketing of GET educational</a:t>
                      </a:r>
                      <a:r>
                        <a:rPr lang="en-ZA" sz="1200" b="0" i="0" u="none" strike="noStrike" baseline="0" smtClean="0">
                          <a:solidFill>
                            <a:schemeClr val="tx1"/>
                          </a:solidFill>
                          <a:latin typeface="Calibri"/>
                        </a:rPr>
                        <a:t> </a:t>
                      </a:r>
                      <a:r>
                        <a:rPr lang="en-ZA" sz="1200" b="0" i="0" u="none" strike="noStrike" smtClean="0">
                          <a:solidFill>
                            <a:schemeClr val="tx1"/>
                          </a:solidFill>
                          <a:latin typeface="Calibri"/>
                        </a:rPr>
                        <a:t>programme</a:t>
                      </a:r>
                      <a:endParaRPr lang="en-ZA" sz="1200" b="0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rea Coordinator Dev &amp; Care and Regional Head Dev &amp; Care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October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2020 and ongoing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Phasing in of other levels  be resumed in line with the DCS COVID-19  risk adjusted strategy</a:t>
                      </a:r>
                      <a:endParaRPr lang="en-ZA" sz="1200" b="0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105644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Ncome</a:t>
                      </a:r>
                      <a:endParaRPr lang="en-US" sz="1100" b="1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buFont typeface="Arial" pitchFamily="34" charset="0"/>
                        <a:buChar char="•"/>
                      </a:pPr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smtClean="0">
                          <a:solidFill>
                            <a:schemeClr val="tx1"/>
                          </a:solidFill>
                          <a:latin typeface="Calibri"/>
                        </a:rPr>
                        <a:t>Effective marketing of GET educational</a:t>
                      </a:r>
                      <a:r>
                        <a:rPr lang="en-ZA" sz="1200" b="0" i="0" u="none" strike="noStrike" baseline="0" smtClean="0">
                          <a:solidFill>
                            <a:schemeClr val="tx1"/>
                          </a:solidFill>
                          <a:latin typeface="Calibri"/>
                        </a:rPr>
                        <a:t> </a:t>
                      </a:r>
                      <a:r>
                        <a:rPr lang="en-ZA" sz="1200" b="0" i="0" u="none" strike="noStrike" smtClean="0">
                          <a:solidFill>
                            <a:schemeClr val="tx1"/>
                          </a:solidFill>
                          <a:latin typeface="Calibri"/>
                        </a:rPr>
                        <a:t>programme</a:t>
                      </a:r>
                      <a:endParaRPr lang="en-ZA" sz="1200" b="0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Area Coordinator Dev &amp; Care and Regional Head Dev &amp; Care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October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2020 and ongoing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n-ZA" sz="1200" b="0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Phasing in of other levels  be resumed in line with the DCS COVID-19  risk adjusted strategy</a:t>
                      </a:r>
                      <a:endParaRPr lang="en-ZA" sz="1200" b="0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95793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Pietermaritzburg</a:t>
                      </a:r>
                      <a:endParaRPr lang="en-US" sz="1100" b="1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buFont typeface="Arial" pitchFamily="34" charset="0"/>
                        <a:buChar char="•"/>
                      </a:pPr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smtClean="0">
                          <a:solidFill>
                            <a:schemeClr val="tx1"/>
                          </a:solidFill>
                          <a:latin typeface="Calibri"/>
                        </a:rPr>
                        <a:t>Effective marketing of GET educational</a:t>
                      </a:r>
                      <a:r>
                        <a:rPr lang="en-ZA" sz="1200" b="0" i="0" u="none" strike="noStrike" baseline="0" smtClean="0">
                          <a:solidFill>
                            <a:schemeClr val="tx1"/>
                          </a:solidFill>
                          <a:latin typeface="Calibri"/>
                        </a:rPr>
                        <a:t> </a:t>
                      </a:r>
                      <a:r>
                        <a:rPr lang="en-ZA" sz="1200" b="0" i="0" u="none" strike="noStrike" smtClean="0">
                          <a:solidFill>
                            <a:schemeClr val="tx1"/>
                          </a:solidFill>
                          <a:latin typeface="Calibri"/>
                        </a:rPr>
                        <a:t>programme</a:t>
                      </a:r>
                      <a:endParaRPr lang="en-ZA" sz="1200" b="0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Area Coordinator Dev &amp; Care and Regional Head Dev &amp; Care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October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2020 and ongoing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Phasing in of other levels  be resumed in line with the DCS COVID-19  risk adjusted strategy</a:t>
                      </a:r>
                      <a:endParaRPr lang="en-ZA" sz="1200" b="0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957937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Waterval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Font typeface="Arial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Effective marketing of GET educational</a:t>
                      </a:r>
                      <a:r>
                        <a:rPr lang="en-ZA" sz="1200" b="0" i="0" u="none" strike="noStrike" baseline="0" dirty="0" smtClean="0">
                          <a:solidFill>
                            <a:schemeClr val="tx1"/>
                          </a:solidFill>
                          <a:latin typeface="Calibri"/>
                        </a:rPr>
                        <a:t> </a:t>
                      </a:r>
                      <a:r>
                        <a:rPr lang="en-ZA" sz="1200" b="0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programme</a:t>
                      </a:r>
                      <a:endParaRPr lang="en-ZA" sz="1200" b="0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rea Coordinator Dev &amp; Care and Regional Head Dev &amp; Care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October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2020 and ongoing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200" b="0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Phasing in of other levels  be resumed in line with the DCS COVID-19  risk adjusted strategy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PLAN TO ADDRESS UNDER PERFORMANCE:</a:t>
            </a:r>
          </a:p>
          <a:p>
            <a:pPr>
              <a:spcAft>
                <a:spcPts val="600"/>
              </a:spcAft>
            </a:pPr>
            <a:r>
              <a:rPr lang="en-ZA" sz="24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centage of offenders participating in GET per academic year</a:t>
            </a:r>
            <a:endParaRPr lang="en-GB" sz="3200" kern="0" dirty="0">
              <a:solidFill>
                <a:srgbClr val="FFFFFF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7075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231934" y="-5215266"/>
            <a:ext cx="1440000" cy="11870531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3103" y="0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>
              <a:spcAft>
                <a:spcPts val="600"/>
              </a:spcAft>
            </a:pPr>
            <a:r>
              <a:rPr lang="en-ZA" sz="24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centage of inmates receiving spiritual care services </a:t>
            </a:r>
            <a:endParaRPr lang="en-ZA" sz="2400" kern="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24509" y="1416746"/>
            <a:ext cx="8928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1. REGIONAL TARGET VERSUS PERFORMANCE FOR </a:t>
            </a:r>
            <a:r>
              <a:rPr lang="en-GB" sz="1800" b="1" kern="0" dirty="0" smtClean="0"/>
              <a:t>2</a:t>
            </a:r>
            <a:r>
              <a:rPr lang="en-GB" sz="1800" b="1" kern="0" baseline="30000" dirty="0" smtClean="0"/>
              <a:t>nd</a:t>
            </a:r>
            <a:r>
              <a:rPr lang="en-GB" sz="1800" b="1" kern="0" dirty="0" smtClean="0"/>
              <a:t> </a:t>
            </a:r>
            <a:r>
              <a:rPr lang="en-GB" sz="1800" b="1" kern="0" dirty="0" smtClean="0">
                <a:solidFill>
                  <a:prstClr val="black"/>
                </a:solidFill>
              </a:rPr>
              <a:t>QUARTER </a:t>
            </a:r>
            <a:r>
              <a:rPr lang="en-GB" sz="1800" b="1" kern="0" dirty="0">
                <a:solidFill>
                  <a:prstClr val="black"/>
                </a:solidFill>
              </a:rPr>
              <a:t>(2020/2021) 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28600" y="3048000"/>
            <a:ext cx="8915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2. 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MANAGEMENT AREA LEVEL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0644782"/>
              </p:ext>
            </p:extLst>
          </p:nvPr>
        </p:nvGraphicFramePr>
        <p:xfrm>
          <a:off x="228600" y="1808377"/>
          <a:ext cx="11658600" cy="1066800"/>
        </p:xfrm>
        <a:graphic>
          <a:graphicData uri="http://schemas.openxmlformats.org/drawingml/2006/table">
            <a:tbl>
              <a:tblPr firstRow="1" bandRow="1"/>
              <a:tblGrid>
                <a:gridCol w="1295400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72363429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971921"/>
                    </a:ext>
                  </a:extLst>
                </a:gridCol>
              </a:tblGrid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REGION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JULY</a:t>
                      </a:r>
                      <a:r>
                        <a:rPr lang="en-ZA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2020</a:t>
                      </a:r>
                      <a:br>
                        <a:rPr lang="en-ZA" sz="110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JULY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AUGUST</a:t>
                      </a:r>
                      <a:r>
                        <a:rPr lang="en-ZA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2020</a:t>
                      </a:r>
                      <a:br>
                        <a:rPr lang="en-ZA" sz="110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AUGUST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SEPTEMBER 2020 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SEPTEMBER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Q2 TARGET: 2020-2021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375654">
                <a:tc>
                  <a:txBody>
                    <a:bodyPr/>
                    <a:lstStyle/>
                    <a:p>
                      <a:r>
                        <a:rPr lang="en-ZA" dirty="0" smtClean="0">
                          <a:solidFill>
                            <a:schemeClr val="tx1"/>
                          </a:solidFill>
                        </a:rPr>
                        <a:t>Kwa</a:t>
                      </a:r>
                      <a:r>
                        <a:rPr lang="en-ZA" baseline="0" dirty="0" smtClean="0">
                          <a:solidFill>
                            <a:schemeClr val="tx1"/>
                          </a:solidFill>
                        </a:rPr>
                        <a:t> Zulu Natal</a:t>
                      </a:r>
                      <a:endParaRPr lang="en-ZA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006/30090 = 6.67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760/22164 = 3.42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006/30090 = 6.67%</a:t>
                      </a:r>
                    </a:p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872/21851 = 3.99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006/30090 = 6.67%</a:t>
                      </a:r>
                    </a:p>
                    <a:p>
                      <a:pPr algn="ctr"/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436/22009 = 6.52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40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5 143/22 009 = 23.37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7948739"/>
              </p:ext>
            </p:extLst>
          </p:nvPr>
        </p:nvGraphicFramePr>
        <p:xfrm>
          <a:off x="228600" y="3581400"/>
          <a:ext cx="11658600" cy="3457157"/>
        </p:xfrm>
        <a:graphic>
          <a:graphicData uri="http://schemas.openxmlformats.org/drawingml/2006/table">
            <a:tbl>
              <a:tblPr firstRow="1" bandRow="1"/>
              <a:tblGrid>
                <a:gridCol w="1295400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72363429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971921"/>
                    </a:ext>
                  </a:extLst>
                </a:gridCol>
              </a:tblGrid>
              <a:tr h="578803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JULY 2020</a:t>
                      </a:r>
                      <a:b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JULY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UGUST 2020</a:t>
                      </a:r>
                      <a:b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UGUST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SEPTEMBER 2020 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SEPTEMBER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: 2020-2021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509537">
                <a:tc>
                  <a:txBody>
                    <a:bodyPr/>
                    <a:lstStyle/>
                    <a:p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Durban</a:t>
                      </a:r>
                      <a:endParaRPr lang="en-ZA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662/9930 = 6.67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95/7604 = 1.25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662/9930 = 6.67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59/73 81</a:t>
                      </a:r>
                      <a:r>
                        <a:rPr lang="en-US" sz="1100" b="1" baseline="0" dirty="0" smtClean="0">
                          <a:solidFill>
                            <a:schemeClr val="tx1"/>
                          </a:solidFill>
                        </a:rPr>
                        <a:t> = 2.15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662/9930 = 6.67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 Light" pitchFamily="34" charset="0"/>
                        </a:rPr>
                        <a:t>285/7163 = 3.98%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3972/9930 = 40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684/7163 = 9.55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509537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Empangeni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73/4098 = 6.66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62/2875 = 2.16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73/4098 = 6.66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43/2895 =1.49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73/4098 = 6.66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 Light" pitchFamily="34" charset="0"/>
                        </a:rPr>
                        <a:t>171/2878 = 5.98%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638/4098 = 39.97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376/2878 = 13.06%</a:t>
                      </a:r>
                    </a:p>
                    <a:p>
                      <a:pPr algn="ctr"/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509537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Glencoe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60/2407 = 6.65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41/1649 = 14.61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60/2407 = 6.65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22/1620</a:t>
                      </a:r>
                      <a:r>
                        <a:rPr lang="en-US" sz="1100" b="1" baseline="0" dirty="0" smtClean="0">
                          <a:solidFill>
                            <a:schemeClr val="tx1"/>
                          </a:solidFill>
                        </a:rPr>
                        <a:t> = 13.70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60/2407 = 6.65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 Light" pitchFamily="34" charset="0"/>
                        </a:rPr>
                        <a:t>283/2052 = 13.79%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960/2407 = 39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442/2052 = 70.27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509537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Kokstad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40/2106 = 6,65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69/1537 = 11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40/2106 = 6,65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95/1534 = 12.71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40/2106 = 6,65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58/1605 = 16.07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840/2106 = 39.89%</a:t>
                      </a:r>
                    </a:p>
                    <a:p>
                      <a:pPr algn="ctr"/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846/2106=40.17%</a:t>
                      </a:r>
                      <a:endParaRPr lang="en-US" sz="1100" b="1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1030/1605 = 64.17%</a:t>
                      </a:r>
                    </a:p>
                    <a:p>
                      <a:pPr algn="ctr"/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1089/1605=68.85%</a:t>
                      </a:r>
                    </a:p>
                    <a:p>
                      <a:pPr algn="ctr"/>
                      <a:r>
                        <a:rPr lang="en-US" sz="1100" b="1" dirty="0" smtClean="0">
                          <a:solidFill>
                            <a:schemeClr val="accent4"/>
                          </a:solidFill>
                        </a:rPr>
                        <a:t>Difference of 59 is with Q1 at Regional office</a:t>
                      </a:r>
                      <a:endParaRPr lang="en-US" sz="1100" b="1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47543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207087" y="-5190418"/>
            <a:ext cx="1440000" cy="11820836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3103" y="0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>
              <a:spcAft>
                <a:spcPts val="600"/>
              </a:spcAft>
            </a:pPr>
            <a:r>
              <a:rPr lang="en-ZA" sz="24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centage of inmates receiving spiritual care services </a:t>
            </a:r>
            <a:endParaRPr lang="en-ZA" sz="2400" kern="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28600" y="1752600"/>
            <a:ext cx="8915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2. 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MANAGEMENT AREA LEVEL (CONT…)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5452979"/>
              </p:ext>
            </p:extLst>
          </p:nvPr>
        </p:nvGraphicFramePr>
        <p:xfrm>
          <a:off x="178905" y="2667000"/>
          <a:ext cx="11658600" cy="2107414"/>
        </p:xfrm>
        <a:graphic>
          <a:graphicData uri="http://schemas.openxmlformats.org/drawingml/2006/table">
            <a:tbl>
              <a:tblPr firstRow="1" bandRow="1"/>
              <a:tblGrid>
                <a:gridCol w="1295400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72363429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971921"/>
                    </a:ext>
                  </a:extLst>
                </a:gridCol>
              </a:tblGrid>
              <a:tr h="578803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JULY 2020</a:t>
                      </a:r>
                      <a:b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JULY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UGUST 2020</a:t>
                      </a:r>
                      <a:b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UGUST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SEPTEMBER 2020 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SEPTEMBER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: 2020-2021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509537">
                <a:tc>
                  <a:txBody>
                    <a:bodyPr/>
                    <a:lstStyle/>
                    <a:p>
                      <a:r>
                        <a:rPr lang="en-ZA" sz="1100" b="1" dirty="0" smtClean="0">
                          <a:solidFill>
                            <a:schemeClr val="tx1"/>
                          </a:solidFill>
                        </a:rPr>
                        <a:t>Ncome</a:t>
                      </a:r>
                      <a:endParaRPr lang="en-ZA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91/2865 = 6.67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85/2105 = 8.79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91/2865 = 6.67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100" b="1" dirty="0" smtClean="0">
                          <a:latin typeface="Calibri Light" pitchFamily="34" charset="0"/>
                        </a:rPr>
                        <a:t>167/2045 =8.17%</a:t>
                      </a:r>
                      <a:endParaRPr lang="en-ZA" sz="1100" b="1" dirty="0"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91/2865 = 6.67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100" b="1" dirty="0" smtClean="0">
                          <a:latin typeface="Calibri Light" pitchFamily="34" charset="0"/>
                        </a:rPr>
                        <a:t>214/1963 = 10,93%</a:t>
                      </a:r>
                      <a:endParaRPr lang="en-ZA" sz="1100" b="1" dirty="0"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 Light" pitchFamily="34" charset="0"/>
                        </a:rPr>
                        <a:t>1146/2865 = 40%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 Light" pitchFamily="34" charset="0"/>
                        </a:rPr>
                        <a:t>897/1963 = 45.70%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509537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PMBurg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418/6262 = 6.68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0/4679 = 0.00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418/6262 = 6.68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100" b="1" dirty="0" smtClean="0">
                          <a:latin typeface="Calibri Light" pitchFamily="34" charset="0"/>
                        </a:rPr>
                        <a:t>0/4614 = 0.00%</a:t>
                      </a:r>
                      <a:endParaRPr lang="en-ZA" sz="1100" b="1" dirty="0"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418/6262 = 6.68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100" b="1" dirty="0" smtClean="0">
                          <a:latin typeface="Calibri Light" pitchFamily="34" charset="0"/>
                        </a:rPr>
                        <a:t>32/4548 = 0.70%</a:t>
                      </a:r>
                      <a:endParaRPr lang="en-ZA" sz="1100" b="1" dirty="0"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 Light" pitchFamily="34" charset="0"/>
                        </a:rPr>
                        <a:t>2508/6262 = 40.05%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 Light" pitchFamily="34" charset="0"/>
                        </a:rPr>
                        <a:t>32/4548 = 0.70%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509537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Waterval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62/2422/= 6.69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8/1715</a:t>
                      </a:r>
                      <a:r>
                        <a:rPr lang="en-US" sz="1100" b="1" baseline="0" dirty="0" smtClean="0">
                          <a:solidFill>
                            <a:schemeClr val="tx1"/>
                          </a:solidFill>
                        </a:rPr>
                        <a:t> = 0.47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62/2422/= 6.69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100" b="1" dirty="0" smtClean="0">
                          <a:latin typeface="Calibri Light" pitchFamily="34" charset="0"/>
                        </a:rPr>
                        <a:t>86/1762 = 4,88%</a:t>
                      </a:r>
                      <a:endParaRPr lang="en-ZA" sz="1100" b="1" dirty="0"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62/2422/= 6.69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100" b="1" dirty="0" smtClean="0">
                          <a:latin typeface="Calibri Light" pitchFamily="34" charset="0"/>
                        </a:rPr>
                        <a:t>193/1800 = 10,72%</a:t>
                      </a:r>
                      <a:endParaRPr lang="en-ZA" sz="1100" b="1" dirty="0"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 Light" pitchFamily="34" charset="0"/>
                        </a:rPr>
                        <a:t>972/2422 =40.13%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 Light" pitchFamily="34" charset="0"/>
                        </a:rPr>
                        <a:t>682/1800 = 37.89%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18168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577284" y="-5547915"/>
            <a:ext cx="1066800" cy="1216263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9369" y="1066800"/>
            <a:ext cx="110362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2. 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CORRECTIONAL CENTRE LEVEL </a:t>
            </a:r>
            <a:r>
              <a:rPr lang="en-GB" sz="1800" b="1" kern="0" dirty="0" smtClean="0"/>
              <a:t>MANAGEMENT </a:t>
            </a:r>
            <a:endParaRPr lang="en-GB" sz="1800" b="1" kern="0" dirty="0" smtClean="0"/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/>
              <a:t> </a:t>
            </a:r>
            <a:r>
              <a:rPr lang="en-GB" sz="1800" b="1" kern="0" dirty="0" smtClean="0"/>
              <a:t>        </a:t>
            </a:r>
            <a:r>
              <a:rPr lang="en-GB" sz="1800" b="1" kern="0" dirty="0" smtClean="0"/>
              <a:t>AREA </a:t>
            </a:r>
            <a:r>
              <a:rPr lang="en-GB" sz="1800" b="1" kern="0" dirty="0" smtClean="0"/>
              <a:t>TO POPULATE</a:t>
            </a:r>
            <a:endParaRPr lang="en-ZA" sz="1800" b="1" kern="0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8318448"/>
              </p:ext>
            </p:extLst>
          </p:nvPr>
        </p:nvGraphicFramePr>
        <p:xfrm>
          <a:off x="1" y="1713130"/>
          <a:ext cx="12191998" cy="5433531"/>
        </p:xfrm>
        <a:graphic>
          <a:graphicData uri="http://schemas.openxmlformats.org/drawingml/2006/table">
            <a:tbl>
              <a:tblPr firstRow="1" bandRow="1"/>
              <a:tblGrid>
                <a:gridCol w="1741714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</a:tblGrid>
              <a:tr h="706563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 2020/21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UARTER 2</a:t>
                      </a:r>
                      <a:b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S THAT CONTRIBUTED TOWARDS UNDER-ACHIEVEMENT 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ASONS FOR UNDER</a:t>
                      </a:r>
                    </a:p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OOT CAUSES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SSOCIATED RISKS 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1085507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3972/9930 = 40%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684/7163 = 9.55%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Durban</a:t>
                      </a:r>
                      <a:endParaRPr lang="en-ZA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Target for the quarter not met due to  that the limits posed by the lock down. Less spiritual workers were allowed to work according to the risk adjustment strategy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Covid 19 Risk Adjusted Strategy Regulation</a:t>
                      </a:r>
                      <a:endParaRPr lang="en-ZA" sz="10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Covid 19 Risk Adjusted Strategy Regulation are not relaxed to allow for the provision of  fully</a:t>
                      </a:r>
                      <a:r>
                        <a:rPr lang="en-ZA" sz="1000" baseline="0" dirty="0" smtClean="0">
                          <a:solidFill>
                            <a:schemeClr val="tx1"/>
                          </a:solidFill>
                        </a:rPr>
                        <a:t> fledged spiritual care services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990600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1638/4098 = 39.97%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376/2878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</a:rPr>
                        <a:t> = 13.06%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Empangeni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000" smtClean="0">
                          <a:solidFill>
                            <a:schemeClr val="tx1"/>
                          </a:solidFill>
                        </a:rPr>
                        <a:t>Target for the quarter not met due to  that the limits posed by the lock down. Less spiritual workers were allowed to work according to the risk adjustment strategy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Covid 19 Risk Adjusted Strategy Regulation</a:t>
                      </a:r>
                      <a:endParaRPr lang="en-ZA" sz="10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Covid 19 Risk Adjusted Strategy Regulation are not relaxed to allow for the provision of  fully</a:t>
                      </a:r>
                      <a:r>
                        <a:rPr lang="en-ZA" sz="1000" baseline="0" dirty="0" smtClean="0">
                          <a:solidFill>
                            <a:schemeClr val="tx1"/>
                          </a:solidFill>
                        </a:rPr>
                        <a:t> fledged spiritual care services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1127760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960/2407 = 39.88%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1442/2052 = 70.27%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Glencoe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Target for the quarter not met due to  that the limits posed by the lock down. Less spiritual workers were allowed to work according to the risk adjustment strategy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Covid 19 Risk Adjusted Strategy Regulation</a:t>
                      </a:r>
                      <a:endParaRPr lang="en-ZA" sz="10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Covid 19 Risk Adjusted Strategy Regulation are not relaxed to allow for the provision of  fully</a:t>
                      </a:r>
                      <a:r>
                        <a:rPr lang="en-ZA" sz="1000" baseline="0" dirty="0" smtClean="0">
                          <a:solidFill>
                            <a:schemeClr val="tx1"/>
                          </a:solidFill>
                        </a:rPr>
                        <a:t> fledged spiritual care services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1252248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0" dirty="0" smtClean="0">
                          <a:solidFill>
                            <a:schemeClr val="accent4"/>
                          </a:solidFill>
                        </a:rPr>
                        <a:t>840/2106</a:t>
                      </a:r>
                      <a:r>
                        <a:rPr lang="en-US" sz="1100" b="0" baseline="0" dirty="0" smtClean="0">
                          <a:solidFill>
                            <a:schemeClr val="accent4"/>
                          </a:solidFill>
                        </a:rPr>
                        <a:t> = 39.89%</a:t>
                      </a:r>
                      <a:endParaRPr lang="en-US" sz="1100" b="0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0" dirty="0" smtClean="0">
                          <a:solidFill>
                            <a:schemeClr val="accent4"/>
                          </a:solidFill>
                        </a:rPr>
                        <a:t>1030/1605 = 64.17%</a:t>
                      </a:r>
                      <a:endParaRPr lang="en-US" sz="1100" b="0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accent4"/>
                          </a:solidFill>
                        </a:rPr>
                        <a:t>Kokstad</a:t>
                      </a:r>
                      <a:endParaRPr lang="en-US" sz="1100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accent4"/>
                          </a:solidFill>
                        </a:rPr>
                        <a:t>All Correctional Centres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000" dirty="0" smtClean="0">
                          <a:solidFill>
                            <a:schemeClr val="accent4"/>
                          </a:solidFill>
                        </a:rPr>
                        <a:t>Target for the quarter not met due to  that the limits posed by the lock down. Less spiritual workers were allowed to work according to the risk adjustment strategy</a:t>
                      </a:r>
                      <a:endParaRPr lang="en-US" sz="1000" dirty="0">
                        <a:solidFill>
                          <a:schemeClr val="accent4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dirty="0" smtClean="0">
                          <a:solidFill>
                            <a:schemeClr val="accent4"/>
                          </a:solidFill>
                        </a:rPr>
                        <a:t>Covid 19 Risk Adjusted Strategy Regulation</a:t>
                      </a:r>
                      <a:endParaRPr lang="en-ZA" sz="1000" baseline="0" dirty="0" smtClean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dirty="0" smtClean="0">
                          <a:solidFill>
                            <a:schemeClr val="accent4"/>
                          </a:solidFill>
                        </a:rPr>
                        <a:t>Covid 19 Risk Adjusted Strategy Regulation are not relaxed to allow for the provision of  fully</a:t>
                      </a:r>
                      <a:r>
                        <a:rPr lang="en-ZA" sz="1000" baseline="0" dirty="0" smtClean="0">
                          <a:solidFill>
                            <a:schemeClr val="accent4"/>
                          </a:solidFill>
                        </a:rPr>
                        <a:t> fledged spiritual care services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000" baseline="0" dirty="0" smtClean="0">
                        <a:solidFill>
                          <a:schemeClr val="accent4"/>
                        </a:solidFill>
                      </a:endParaRP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000" b="1" baseline="0" dirty="0" smtClean="0">
                        <a:solidFill>
                          <a:schemeClr val="accent4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>
              <a:spcAft>
                <a:spcPts val="600"/>
              </a:spcAft>
            </a:pPr>
            <a:r>
              <a:rPr lang="en-ZA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centage of inmates receiving spiritual care services </a:t>
            </a:r>
            <a:endParaRPr lang="en-ZA" kern="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0554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384334" y="-5367665"/>
            <a:ext cx="1440000" cy="1217533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9369" y="1440000"/>
            <a:ext cx="110362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2. 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CORRECTIONAL CENTRE </a:t>
            </a:r>
            <a:r>
              <a:rPr lang="en-GB" sz="1800" b="1" kern="0" dirty="0" smtClean="0"/>
              <a:t>LEVEL MANAGEMENT </a:t>
            </a:r>
            <a:endParaRPr lang="en-GB" sz="1800" b="1" kern="0" dirty="0" smtClean="0"/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/>
              <a:t> </a:t>
            </a:r>
            <a:r>
              <a:rPr lang="en-GB" sz="1800" b="1" kern="0" dirty="0" smtClean="0"/>
              <a:t>        </a:t>
            </a:r>
            <a:r>
              <a:rPr lang="en-GB" sz="1800" b="1" kern="0" dirty="0" smtClean="0"/>
              <a:t>AREA </a:t>
            </a:r>
            <a:r>
              <a:rPr lang="en-GB" sz="1800" b="1" kern="0" dirty="0" smtClean="0"/>
              <a:t>TO POPULATE</a:t>
            </a:r>
            <a:endParaRPr lang="en-ZA" sz="1800" b="1" kern="0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8318448"/>
              </p:ext>
            </p:extLst>
          </p:nvPr>
        </p:nvGraphicFramePr>
        <p:xfrm>
          <a:off x="1" y="2086330"/>
          <a:ext cx="12191998" cy="4619270"/>
        </p:xfrm>
        <a:graphic>
          <a:graphicData uri="http://schemas.openxmlformats.org/drawingml/2006/table">
            <a:tbl>
              <a:tblPr firstRow="1" bandRow="1"/>
              <a:tblGrid>
                <a:gridCol w="1741714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</a:tblGrid>
              <a:tr h="701197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 2020/21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UARTER 2</a:t>
                      </a:r>
                      <a:b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S THAT CONTRIBUTED TOWARDS UNDER-ACHIEVEMENT 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ASONS FOR UNDER</a:t>
                      </a:r>
                    </a:p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OOT CAUSES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SSOCIATED RISKS 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1432599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1146/2865 = 40%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897/1963 =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</a:rPr>
                        <a:t> 45.70%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100" b="1" dirty="0" smtClean="0">
                          <a:solidFill>
                            <a:schemeClr val="tx1"/>
                          </a:solidFill>
                        </a:rPr>
                        <a:t>Ncome</a:t>
                      </a:r>
                      <a:endParaRPr lang="en-ZA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Target for the quarter not met due to  that the limits posed by the lock down. Less spiritual workers were allowed to work according to the risk adjustment strategy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Covid 19 Risk Adjusted Strategy Regulation</a:t>
                      </a:r>
                      <a:endParaRPr lang="en-ZA" sz="10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Covid 19 Risk Adjusted Strategy Regulation are not relaxed to allow for the provision of  fully</a:t>
                      </a:r>
                      <a:r>
                        <a:rPr lang="en-ZA" sz="1000" baseline="0" dirty="0" smtClean="0">
                          <a:solidFill>
                            <a:schemeClr val="tx1"/>
                          </a:solidFill>
                        </a:rPr>
                        <a:t> fledged spiritual care services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1242737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2508/6262 = 40.05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32/4548 = 0.70%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PMBurg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000" smtClean="0">
                          <a:solidFill>
                            <a:schemeClr val="tx1"/>
                          </a:solidFill>
                        </a:rPr>
                        <a:t>Target for the quarter not met due to  that the limits posed by the lock down. Less spiritual workers were allowed to work according to the risk adjustment strategy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Covid 19 Risk Adjusted Strategy Regulation</a:t>
                      </a:r>
                      <a:endParaRPr lang="en-ZA" sz="10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Covid 19 Risk Adjusted Strategy Regulation are not relaxed to allow for the provision of  fully</a:t>
                      </a:r>
                      <a:r>
                        <a:rPr lang="en-ZA" sz="1000" baseline="0" dirty="0" smtClean="0">
                          <a:solidFill>
                            <a:schemeClr val="tx1"/>
                          </a:solidFill>
                        </a:rPr>
                        <a:t> fledged spiritual care services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1242737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972/2422 = 40.13%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682/1800 = 37.89%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Waterval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Target for the quarter not met due to  that the limits posed by the lock down. Less spiritual workers were allowed to work according to the risk adjustment strategy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Covid 19 Risk Adjusted Strategy Regulation</a:t>
                      </a:r>
                      <a:endParaRPr lang="en-ZA" sz="10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Covid 19 Risk Adjusted Strategy Regulation are not relaxed to allow for the provision of  fully</a:t>
                      </a:r>
                      <a:r>
                        <a:rPr lang="en-ZA" sz="1000" baseline="0" dirty="0" smtClean="0">
                          <a:solidFill>
                            <a:schemeClr val="tx1"/>
                          </a:solidFill>
                        </a:rPr>
                        <a:t> fledged spiritual care services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>
              <a:spcAft>
                <a:spcPts val="600"/>
              </a:spcAft>
            </a:pPr>
            <a:r>
              <a:rPr lang="en-ZA" sz="24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centage of inmates receiving spiritual care services </a:t>
            </a:r>
            <a:endParaRPr lang="en-ZA" sz="2400" kern="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0554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DBE75937-E151-4B2B-8C64-9A22524FD06C}"/>
              </a:ext>
            </a:extLst>
          </p:cNvPr>
          <p:cNvSpPr/>
          <p:nvPr/>
        </p:nvSpPr>
        <p:spPr>
          <a:xfrm>
            <a:off x="0" y="4292600"/>
            <a:ext cx="12192000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D9DE8BFE-FE5B-4B85-95C6-4BC24BEA18CB}"/>
              </a:ext>
            </a:extLst>
          </p:cNvPr>
          <p:cNvSpPr/>
          <p:nvPr/>
        </p:nvSpPr>
        <p:spPr>
          <a:xfrm>
            <a:off x="2311400" y="0"/>
            <a:ext cx="1188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343C31C0-A678-488B-954D-3C31F9292F64}"/>
              </a:ext>
            </a:extLst>
          </p:cNvPr>
          <p:cNvSpPr/>
          <p:nvPr/>
        </p:nvSpPr>
        <p:spPr>
          <a:xfrm>
            <a:off x="2420173" y="-1"/>
            <a:ext cx="9761728" cy="4292600"/>
          </a:xfrm>
          <a:prstGeom prst="rect">
            <a:avLst/>
          </a:prstGeom>
          <a:solidFill>
            <a:schemeClr val="accent6">
              <a:lumMod val="75000"/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6B460027-1BF7-4B04-A53C-BB6E7681BBF8}"/>
              </a:ext>
            </a:extLst>
          </p:cNvPr>
          <p:cNvSpPr/>
          <p:nvPr/>
        </p:nvSpPr>
        <p:spPr>
          <a:xfrm>
            <a:off x="2420173" y="4415868"/>
            <a:ext cx="9761728" cy="2451101"/>
          </a:xfrm>
          <a:prstGeom prst="rect">
            <a:avLst/>
          </a:prstGeom>
          <a:solidFill>
            <a:schemeClr val="accent6">
              <a:lumMod val="60000"/>
              <a:lumOff val="40000"/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07492E08-0E2F-4761-9D2E-B3813C92F001}"/>
              </a:ext>
            </a:extLst>
          </p:cNvPr>
          <p:cNvSpPr/>
          <p:nvPr/>
        </p:nvSpPr>
        <p:spPr>
          <a:xfrm>
            <a:off x="2908169" y="532169"/>
            <a:ext cx="7851332" cy="33239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prstClr val="white"/>
                </a:solidFill>
                <a:latin typeface="Consolas" panose="020B0609020204030204"/>
              </a:rPr>
              <a:t>2020/21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prstClr val="white"/>
                </a:solidFill>
                <a:latin typeface="Consolas" panose="020B0609020204030204"/>
              </a:rPr>
              <a:t>PERFORMANCE TARGETS NOT ACHIEVED DURING QUARTER 2</a:t>
            </a:r>
          </a:p>
        </p:txBody>
      </p:sp>
    </p:spTree>
    <p:extLst>
      <p:ext uri="{BB962C8B-B14F-4D97-AF65-F5344CB8AC3E}">
        <p14:creationId xmlns:p14="http://schemas.microsoft.com/office/powerpoint/2010/main" val="894601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231935" y="-5215267"/>
            <a:ext cx="1440000" cy="11870533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228600" y="1650304"/>
            <a:ext cx="11658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</a:t>
            </a:r>
            <a:r>
              <a:rPr lang="en-GB" sz="1800" b="1" kern="0" dirty="0" smtClean="0">
                <a:solidFill>
                  <a:prstClr val="black"/>
                </a:solidFill>
              </a:rPr>
              <a:t>4. PROJECT PLAN TO ADDRESS UNDER PERFORMANCE </a:t>
            </a:r>
            <a:r>
              <a:rPr lang="en-GB" sz="1800" b="1" kern="0" dirty="0" smtClean="0"/>
              <a:t>MANAGEMENT AREA TO POPULATE</a:t>
            </a:r>
            <a:endParaRPr lang="en-ZA" sz="1800" b="1" kern="0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047451"/>
              </p:ext>
            </p:extLst>
          </p:nvPr>
        </p:nvGraphicFramePr>
        <p:xfrm>
          <a:off x="215900" y="2298902"/>
          <a:ext cx="11671302" cy="4471130"/>
        </p:xfrm>
        <a:graphic>
          <a:graphicData uri="http://schemas.openxmlformats.org/drawingml/2006/table">
            <a:tbl>
              <a:tblPr firstRow="1" bandRow="1"/>
              <a:tblGrid>
                <a:gridCol w="1945217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</a:tblGrid>
              <a:tr h="584930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CTIVITY / ACTIVITIES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SPONSIBILITY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IME FRAM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ROGRESS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860192">
                <a:tc>
                  <a:txBody>
                    <a:bodyPr/>
                    <a:lstStyle/>
                    <a:p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Durban</a:t>
                      </a:r>
                      <a:endParaRPr lang="en-ZA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</a:p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Continue</a:t>
                      </a:r>
                      <a:r>
                        <a:rPr lang="en-US" sz="1100" baseline="0" smtClean="0">
                          <a:solidFill>
                            <a:schemeClr val="tx1"/>
                          </a:solidFill>
                        </a:rPr>
                        <a:t> to involve  more offenders in spiritual care servic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rea Commissioner and Area Coordinator Dev &amp; Care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October 2020 and ongoing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Offenders are involve in spiritual care services as the Covid 19 Risk Adjusted Strategy Regulation are relaxed.</a:t>
                      </a:r>
                      <a:endParaRPr lang="en-ZA" sz="110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860192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Empangeni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Continue</a:t>
                      </a:r>
                      <a:r>
                        <a:rPr lang="en-US" sz="1100" baseline="0" smtClean="0">
                          <a:solidFill>
                            <a:schemeClr val="tx1"/>
                          </a:solidFill>
                        </a:rPr>
                        <a:t> to involve  more offenders in spiritual care servic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rea Commissioner and Area Coordinator Dev &amp; Care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October 2020 and ongoing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smtClean="0">
                          <a:solidFill>
                            <a:schemeClr val="tx1"/>
                          </a:solidFill>
                        </a:rPr>
                        <a:t>Offenders are involve in spiritual care services as the Covid 19 Risk Adjusted Strategy Regulation are relaxed.</a:t>
                      </a:r>
                      <a:endParaRPr lang="en-ZA" sz="11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860192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Glencoe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Continue</a:t>
                      </a:r>
                      <a:r>
                        <a:rPr lang="en-US" sz="1100" baseline="0" smtClean="0">
                          <a:solidFill>
                            <a:schemeClr val="tx1"/>
                          </a:solidFill>
                        </a:rPr>
                        <a:t> to involve  more offenders in spiritual care servic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rea Commissioner and Area Coordinator Dev &amp; Care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October 2020 and ongoing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smtClean="0">
                          <a:solidFill>
                            <a:schemeClr val="tx1"/>
                          </a:solidFill>
                        </a:rPr>
                        <a:t>Offenders are involve in spiritual care services as the Covid 19 Risk Adjusted Strategy Regulation are relaxed.</a:t>
                      </a:r>
                      <a:endParaRPr lang="en-ZA" sz="11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860192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accent4"/>
                          </a:solidFill>
                        </a:rPr>
                        <a:t>Kokstad</a:t>
                      </a:r>
                      <a:endParaRPr lang="en-US" sz="1100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accent4"/>
                          </a:solidFill>
                        </a:rPr>
                        <a:t>All Correctional Centres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accent4"/>
                          </a:solidFill>
                        </a:rPr>
                        <a:t>Continue</a:t>
                      </a:r>
                      <a:r>
                        <a:rPr lang="en-US" sz="1100" baseline="0" dirty="0" smtClean="0">
                          <a:solidFill>
                            <a:schemeClr val="accent4"/>
                          </a:solidFill>
                        </a:rPr>
                        <a:t> to involve  more offenders in spiritual care services</a:t>
                      </a:r>
                      <a:endParaRPr lang="en-US" sz="1100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accent4"/>
                          </a:solidFill>
                        </a:rPr>
                        <a:t>Area Commissioner and Area Coordinator Dev &amp; Care</a:t>
                      </a:r>
                      <a:endParaRPr lang="en-US" sz="1100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accent4"/>
                          </a:solidFill>
                        </a:rPr>
                        <a:t>October 2020 and ongoing</a:t>
                      </a:r>
                      <a:endParaRPr lang="en-US" sz="1100" dirty="0">
                        <a:solidFill>
                          <a:schemeClr val="accent4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dirty="0" smtClean="0">
                          <a:solidFill>
                            <a:schemeClr val="accent4"/>
                          </a:solidFill>
                        </a:rPr>
                        <a:t>Offenders are involve in spiritual care services as the Covid 19 Risk Adjusted Strategy Regulation are relaxed.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PLAN TO ADDRESS UNDER PERFORMANCE:</a:t>
            </a:r>
          </a:p>
          <a:p>
            <a:pPr>
              <a:spcAft>
                <a:spcPts val="600"/>
              </a:spcAft>
            </a:pPr>
            <a:r>
              <a:rPr lang="en-ZA" sz="2400" kern="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Percentage of inmates receiving spiritual care services </a:t>
            </a:r>
            <a:endParaRPr lang="en-ZA" sz="2400" kern="0" dirty="0">
              <a:solidFill>
                <a:srgbClr val="FFFFFF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8957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231936" y="-5215268"/>
            <a:ext cx="1440000" cy="11870535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9372" y="1440000"/>
            <a:ext cx="117054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</a:t>
            </a:r>
            <a:r>
              <a:rPr lang="en-GB" sz="1800" b="1" kern="0" dirty="0" smtClean="0">
                <a:solidFill>
                  <a:prstClr val="black"/>
                </a:solidFill>
              </a:rPr>
              <a:t>4. PROJECT PLAN TO ADDRESS UNDER PERFORMANCE </a:t>
            </a:r>
            <a:r>
              <a:rPr lang="en-GB" sz="1800" b="1" kern="0" dirty="0" smtClean="0"/>
              <a:t>MANAGEMENT AREA TO POPULATE</a:t>
            </a:r>
            <a:endParaRPr lang="en-ZA" sz="1800" b="1" kern="0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047451"/>
              </p:ext>
            </p:extLst>
          </p:nvPr>
        </p:nvGraphicFramePr>
        <p:xfrm>
          <a:off x="29372" y="2042928"/>
          <a:ext cx="11857830" cy="3976873"/>
        </p:xfrm>
        <a:graphic>
          <a:graphicData uri="http://schemas.openxmlformats.org/drawingml/2006/table">
            <a:tbl>
              <a:tblPr firstRow="1" bandRow="1"/>
              <a:tblGrid>
                <a:gridCol w="1976305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976305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976305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976305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976305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976305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</a:tblGrid>
              <a:tr h="734857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CTIVITY / ACTIVITIES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SPONSIBILITY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IME FRAM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ROGRESS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1080672">
                <a:tc>
                  <a:txBody>
                    <a:bodyPr/>
                    <a:lstStyle/>
                    <a:p>
                      <a:r>
                        <a:rPr lang="en-ZA" sz="1100" b="1" dirty="0" smtClean="0">
                          <a:solidFill>
                            <a:schemeClr val="tx1"/>
                          </a:solidFill>
                        </a:rPr>
                        <a:t>Ncome</a:t>
                      </a:r>
                      <a:endParaRPr lang="en-ZA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Continue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to involve  more offenders in spiritual care servic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rea Commissioner and Area Coordinator Dev &amp; Care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October 2020 and ongoing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smtClean="0">
                          <a:solidFill>
                            <a:schemeClr val="tx1"/>
                          </a:solidFill>
                        </a:rPr>
                        <a:t>Offenders are involve in spiritual care services as the Covid 19 Risk Adjusted Strategy Regulation are relaxed.</a:t>
                      </a:r>
                      <a:endParaRPr lang="en-ZA" sz="11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1080672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PMBurg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Continue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to involve  more offenders in spiritual care servic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rea Commissioner and Area Coordinator Dev &amp; Care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October 2020 and ongoing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smtClean="0">
                          <a:solidFill>
                            <a:schemeClr val="tx1"/>
                          </a:solidFill>
                        </a:rPr>
                        <a:t>Offenders are involve in spiritual care services as the Covid 19 Risk Adjusted Strategy Regulation are relaxed.</a:t>
                      </a:r>
                      <a:endParaRPr lang="en-ZA" sz="11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1080672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Waterval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Continue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to involve  more offenders in spiritual care servic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rea Commissioner and Area Coordinator Dev &amp; Care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October 2020 and ongoing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Offenders are involve in spiritual care services as the Covid 19 Risk Adjusted Strategy Regulation are relaxed.</a:t>
                      </a:r>
                      <a:endParaRPr lang="en-ZA" sz="11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PLAN TO ADDRESS UNDER PERFORMANCE:</a:t>
            </a:r>
          </a:p>
          <a:p>
            <a:pPr>
              <a:spcAft>
                <a:spcPts val="600"/>
              </a:spcAft>
            </a:pPr>
            <a:r>
              <a:rPr lang="en-ZA" kern="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Percentage of inmates receiving spiritual care services</a:t>
            </a:r>
            <a:endParaRPr lang="en-ZA" kern="0" dirty="0">
              <a:solidFill>
                <a:srgbClr val="FFFFFF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8957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231934" y="-5215266"/>
            <a:ext cx="1440000" cy="11870531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3103" y="0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>
              <a:spcAft>
                <a:spcPts val="600"/>
              </a:spcAft>
            </a:pPr>
            <a:r>
              <a:rPr lang="en-ZA" sz="24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centage of inmates receiving psychological care services</a:t>
            </a:r>
            <a:endParaRPr lang="en-ZA" sz="2400" kern="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24509" y="1416746"/>
            <a:ext cx="8928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1. REGIONAL TARGET VERSUS PERFORMANCE FOR </a:t>
            </a:r>
            <a:r>
              <a:rPr lang="en-GB" sz="1800" b="1" kern="0" dirty="0" smtClean="0">
                <a:solidFill>
                  <a:prstClr val="black"/>
                </a:solidFill>
              </a:rPr>
              <a:t>2</a:t>
            </a:r>
            <a:r>
              <a:rPr lang="en-GB" sz="1800" b="1" kern="0" baseline="30000" dirty="0" smtClean="0">
                <a:solidFill>
                  <a:prstClr val="black"/>
                </a:solidFill>
              </a:rPr>
              <a:t>nd</a:t>
            </a:r>
            <a:r>
              <a:rPr lang="en-GB" sz="1800" b="1" kern="0" dirty="0" smtClean="0">
                <a:solidFill>
                  <a:prstClr val="black"/>
                </a:solidFill>
              </a:rPr>
              <a:t> QUARTER </a:t>
            </a:r>
            <a:r>
              <a:rPr lang="en-GB" sz="1800" b="1" kern="0" dirty="0">
                <a:solidFill>
                  <a:prstClr val="black"/>
                </a:solidFill>
              </a:rPr>
              <a:t>(2020/2021) 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28600" y="3048000"/>
            <a:ext cx="8915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2. 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MANAGEMENT AREA LEVEL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9973172"/>
              </p:ext>
            </p:extLst>
          </p:nvPr>
        </p:nvGraphicFramePr>
        <p:xfrm>
          <a:off x="228600" y="1808377"/>
          <a:ext cx="11658600" cy="1066800"/>
        </p:xfrm>
        <a:graphic>
          <a:graphicData uri="http://schemas.openxmlformats.org/drawingml/2006/table">
            <a:tbl>
              <a:tblPr firstRow="1" bandRow="1"/>
              <a:tblGrid>
                <a:gridCol w="1295400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72363429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971921"/>
                    </a:ext>
                  </a:extLst>
                </a:gridCol>
              </a:tblGrid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REGION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JULY</a:t>
                      </a:r>
                      <a:r>
                        <a:rPr lang="en-ZA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2020</a:t>
                      </a:r>
                      <a:br>
                        <a:rPr lang="en-ZA" sz="110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JULY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AUGUST</a:t>
                      </a:r>
                      <a:r>
                        <a:rPr lang="en-ZA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2020</a:t>
                      </a:r>
                      <a:br>
                        <a:rPr lang="en-ZA" sz="110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AUGUST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SEPTEMBER 2020 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SEPTEMBER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Q2 TARGET: 2020-2021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375654">
                <a:tc>
                  <a:txBody>
                    <a:bodyPr/>
                    <a:lstStyle/>
                    <a:p>
                      <a:r>
                        <a:rPr lang="en-ZA" dirty="0" smtClean="0">
                          <a:solidFill>
                            <a:schemeClr val="tx1"/>
                          </a:solidFill>
                        </a:rPr>
                        <a:t>Kwa</a:t>
                      </a:r>
                      <a:r>
                        <a:rPr lang="en-ZA" baseline="0" dirty="0" smtClean="0">
                          <a:solidFill>
                            <a:schemeClr val="tx1"/>
                          </a:solidFill>
                        </a:rPr>
                        <a:t> Zulu Natal</a:t>
                      </a:r>
                      <a:endParaRPr lang="en-ZA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390/30090=</a:t>
                      </a:r>
                      <a:r>
                        <a:rPr lang="en-US" sz="1100" b="1" baseline="0" dirty="0" smtClean="0">
                          <a:solidFill>
                            <a:schemeClr val="tx1"/>
                          </a:solidFill>
                        </a:rPr>
                        <a:t> 1.30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53/22164 = 1.14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390/30090=</a:t>
                      </a:r>
                      <a:r>
                        <a:rPr lang="en-US" sz="1100" b="1" baseline="0" dirty="0" smtClean="0">
                          <a:solidFill>
                            <a:schemeClr val="tx1"/>
                          </a:solidFill>
                        </a:rPr>
                        <a:t> 1.30%</a:t>
                      </a:r>
                      <a:endParaRPr lang="en-US" sz="11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93/218531</a:t>
                      </a:r>
                      <a:r>
                        <a:rPr lang="en-US" sz="1100" b="1" baseline="0" dirty="0" smtClean="0">
                          <a:solidFill>
                            <a:schemeClr val="tx1"/>
                          </a:solidFill>
                        </a:rPr>
                        <a:t> =1.34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390/30090=</a:t>
                      </a:r>
                      <a:r>
                        <a:rPr lang="en-US" sz="1100" b="1" baseline="0" dirty="0" smtClean="0">
                          <a:solidFill>
                            <a:schemeClr val="tx1"/>
                          </a:solidFill>
                        </a:rPr>
                        <a:t> 1.30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346/22009 = 1.57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0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649/22009 = 7.49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7948739"/>
              </p:ext>
            </p:extLst>
          </p:nvPr>
        </p:nvGraphicFramePr>
        <p:xfrm>
          <a:off x="228600" y="3581400"/>
          <a:ext cx="11658600" cy="2616951"/>
        </p:xfrm>
        <a:graphic>
          <a:graphicData uri="http://schemas.openxmlformats.org/drawingml/2006/table">
            <a:tbl>
              <a:tblPr firstRow="1" bandRow="1"/>
              <a:tblGrid>
                <a:gridCol w="1295400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72363429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971921"/>
                    </a:ext>
                  </a:extLst>
                </a:gridCol>
              </a:tblGrid>
              <a:tr h="578803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JULY 2020</a:t>
                      </a:r>
                      <a:b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JULY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UGUST 2020</a:t>
                      </a:r>
                      <a:b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UGUST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SEPTEMBER 2020 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SEPTEMBER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: 2020-2021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509537">
                <a:tc>
                  <a:txBody>
                    <a:bodyPr/>
                    <a:lstStyle/>
                    <a:p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Durban</a:t>
                      </a:r>
                      <a:endParaRPr lang="en-ZA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20/9930 = 1.21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34/7604 =0.45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20/9930 = 1.21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9/7389 = 0.39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20/9930 = 1.21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 Light" pitchFamily="34" charset="0"/>
                        </a:rPr>
                        <a:t>32/7163 = 0.45%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720/9930 = 7.25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35/7163 = 3.28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509537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Empangeni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60/4098 = 1.46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38/2875 = 1.32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60/4098 = 1.46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7/2895 = 0.93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60/4098 = 1.46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 Light" pitchFamily="34" charset="0"/>
                        </a:rPr>
                        <a:t>25/2878 = 0.87%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360/4098 = 8.78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44/2878 = 8.48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509537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Glencoe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0/2407 = 0.00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0/1649 = 0.00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0/2407 = 0.00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0/1620 = 0.00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0/2407 = 0.00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 Light" pitchFamily="34" charset="0"/>
                        </a:rPr>
                        <a:t>0/2052 = 0.00%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0/2407 = 0.00% 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0/2052 = 0.00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509537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Kokstad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60/2106 = 2.85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66/1537 = 4.29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60/2106 = 2.85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75/1534 = 4.89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60/2106 = 2.85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55/1605 = 3.43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360/2106 = 17.09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355/1605 = 22.12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47543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207087" y="-5190418"/>
            <a:ext cx="1440000" cy="11820836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3103" y="0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>
              <a:spcAft>
                <a:spcPts val="600"/>
              </a:spcAft>
            </a:pPr>
            <a:r>
              <a:rPr lang="en-ZA" sz="24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centage of inmates receiving psychological care services</a:t>
            </a:r>
            <a:endParaRPr lang="en-ZA" sz="2400" kern="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28600" y="1752600"/>
            <a:ext cx="8915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2. 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MANAGEMENT AREA LEVEL (CONT…)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5452979"/>
              </p:ext>
            </p:extLst>
          </p:nvPr>
        </p:nvGraphicFramePr>
        <p:xfrm>
          <a:off x="178905" y="2667000"/>
          <a:ext cx="11658600" cy="2107414"/>
        </p:xfrm>
        <a:graphic>
          <a:graphicData uri="http://schemas.openxmlformats.org/drawingml/2006/table">
            <a:tbl>
              <a:tblPr firstRow="1" bandRow="1"/>
              <a:tblGrid>
                <a:gridCol w="1295400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72363429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971921"/>
                    </a:ext>
                  </a:extLst>
                </a:gridCol>
              </a:tblGrid>
              <a:tr h="578803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JULY 2020</a:t>
                      </a:r>
                      <a:b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JULY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UGUST 2020</a:t>
                      </a:r>
                      <a:b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UGUST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SEPTEMBER 2020 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SEPTEMBER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: 2020-2021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509537">
                <a:tc>
                  <a:txBody>
                    <a:bodyPr/>
                    <a:lstStyle/>
                    <a:p>
                      <a:r>
                        <a:rPr lang="en-ZA" sz="1100" b="1" dirty="0" smtClean="0">
                          <a:solidFill>
                            <a:schemeClr val="tx1"/>
                          </a:solidFill>
                        </a:rPr>
                        <a:t>Ncome</a:t>
                      </a:r>
                      <a:endParaRPr lang="en-ZA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30/2865 = 1.05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30/2105 = 1.43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30/2865 = 1.05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100" b="1" dirty="0" smtClean="0">
                          <a:latin typeface="Calibri Light" pitchFamily="34" charset="0"/>
                        </a:rPr>
                        <a:t>34/2045 = 1.66%</a:t>
                      </a:r>
                      <a:endParaRPr lang="en-ZA" sz="1100" b="1" dirty="0"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30/2865 = 1.05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100" b="1" dirty="0" smtClean="0">
                          <a:latin typeface="Calibri Light" pitchFamily="34" charset="0"/>
                        </a:rPr>
                        <a:t>48/1963 = 2.45%</a:t>
                      </a:r>
                      <a:endParaRPr lang="en-ZA" sz="1100" b="1" dirty="0"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 Light" pitchFamily="34" charset="0"/>
                        </a:rPr>
                        <a:t>180/2865 = 6.28%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 Light" pitchFamily="34" charset="0"/>
                        </a:rPr>
                        <a:t>178/1963 = 9.07%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509537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PMBurg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90/6262 = 1.44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48/4679 = 1.03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90/6262 = 1.44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100" b="1" dirty="0" smtClean="0">
                          <a:latin typeface="Calibri Light" pitchFamily="34" charset="0"/>
                        </a:rPr>
                        <a:t>82/4614 = 1.78%</a:t>
                      </a:r>
                      <a:endParaRPr lang="en-ZA" sz="1100" b="1" dirty="0"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90/6262 = 1.44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100" b="1" dirty="0" smtClean="0">
                          <a:latin typeface="Calibri Light" pitchFamily="34" charset="0"/>
                        </a:rPr>
                        <a:t>135/4548 = 2.97%</a:t>
                      </a:r>
                      <a:endParaRPr lang="en-ZA" sz="1100" b="1" dirty="0"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 Light" pitchFamily="34" charset="0"/>
                        </a:rPr>
                        <a:t>540/6262 = 8.62%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 Light" pitchFamily="34" charset="0"/>
                        </a:rPr>
                        <a:t>445/4548 = 9.78%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509537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Waterval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30/2422 = 1.24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37/1715 = 2.16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30/2422 = 1.24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100" b="1" dirty="0" smtClean="0">
                          <a:latin typeface="Calibri Light" pitchFamily="34" charset="0"/>
                        </a:rPr>
                        <a:t>46/1762 = 2.61%</a:t>
                      </a:r>
                      <a:endParaRPr lang="en-ZA" sz="1100" b="1" dirty="0"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30/2422 = 1.24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100" b="1" dirty="0" smtClean="0">
                          <a:latin typeface="Calibri Light" pitchFamily="34" charset="0"/>
                        </a:rPr>
                        <a:t>51/1800 = 2.83%</a:t>
                      </a:r>
                      <a:endParaRPr lang="en-ZA" sz="1100" b="1" dirty="0"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 Light" pitchFamily="34" charset="0"/>
                        </a:rPr>
                        <a:t>180/2422 = 7.43%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 Light" pitchFamily="34" charset="0"/>
                        </a:rPr>
                        <a:t>192/1800 = 10.67%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18168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577284" y="-5547915"/>
            <a:ext cx="1066800" cy="1216263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9369" y="1066800"/>
            <a:ext cx="110362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2. 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CORRECTIONAL CENTRE </a:t>
            </a:r>
            <a:r>
              <a:rPr lang="en-GB" sz="1800" b="1" kern="0" dirty="0" smtClean="0"/>
              <a:t>LEVEL MANAGEMENT </a:t>
            </a:r>
            <a:endParaRPr lang="en-GB" sz="1800" b="1" kern="0" dirty="0" smtClean="0"/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/>
              <a:t> </a:t>
            </a:r>
            <a:r>
              <a:rPr lang="en-GB" sz="1800" b="1" kern="0" dirty="0" smtClean="0"/>
              <a:t>        </a:t>
            </a:r>
            <a:r>
              <a:rPr lang="en-GB" sz="1800" b="1" kern="0" dirty="0" smtClean="0"/>
              <a:t>AREA </a:t>
            </a:r>
            <a:r>
              <a:rPr lang="en-GB" sz="1800" b="1" kern="0" dirty="0" smtClean="0"/>
              <a:t>TO POPULATE</a:t>
            </a:r>
            <a:endParaRPr lang="en-ZA" sz="1800" b="1" kern="0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9875282"/>
              </p:ext>
            </p:extLst>
          </p:nvPr>
        </p:nvGraphicFramePr>
        <p:xfrm>
          <a:off x="1" y="1713130"/>
          <a:ext cx="12191998" cy="5433531"/>
        </p:xfrm>
        <a:graphic>
          <a:graphicData uri="http://schemas.openxmlformats.org/drawingml/2006/table">
            <a:tbl>
              <a:tblPr firstRow="1" bandRow="1"/>
              <a:tblGrid>
                <a:gridCol w="1741714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</a:tblGrid>
              <a:tr h="706563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 2020/21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UARTER 2</a:t>
                      </a:r>
                      <a:b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S THAT CONTRIBUTED TOWARDS UNDER-ACHIEVEMENT 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ASONS FOR UNDER</a:t>
                      </a:r>
                    </a:p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OOT CAUSES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SSOCIATED RISKS 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1085507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720/9930 = 7.25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35/7163 = 3.28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Durban</a:t>
                      </a:r>
                      <a:endParaRPr lang="en-ZA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Target for the quarter not met due to that limitation of the risk adjustment strategy. Size of the groups were limited to 8- 10 depending on the size of the venue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Covid 19 Risk Adjusted Strategy Regulation</a:t>
                      </a:r>
                      <a:endParaRPr lang="en-ZA" sz="10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smtClean="0">
                          <a:solidFill>
                            <a:schemeClr val="tx1"/>
                          </a:solidFill>
                        </a:rPr>
                        <a:t>Covid 19 Risk Adjusted Strategy Regulation are not relaxed to allow for the provision of  fully</a:t>
                      </a:r>
                      <a:r>
                        <a:rPr lang="en-ZA" sz="1000" baseline="0" smtClean="0">
                          <a:solidFill>
                            <a:schemeClr val="tx1"/>
                          </a:solidFill>
                        </a:rPr>
                        <a:t> fledged psychological care services</a:t>
                      </a:r>
                      <a:endParaRPr lang="en-ZA" sz="10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990600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360/4098 = 8.78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44/2878 = 8.48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Empangeni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000" smtClean="0">
                          <a:solidFill>
                            <a:schemeClr val="tx1"/>
                          </a:solidFill>
                        </a:rPr>
                        <a:t>arget for the quarter not met due to that limitation of the risk addjustment strategy. Size of the groups were limited to 8- 10 depending on the size of the venue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Covid 19 Risk Adjusted Strategy Regulation</a:t>
                      </a:r>
                      <a:endParaRPr lang="en-ZA" sz="10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smtClean="0">
                          <a:solidFill>
                            <a:schemeClr val="tx1"/>
                          </a:solidFill>
                        </a:rPr>
                        <a:t>Covid 19 Risk Adjusted Strategy Regulation are not relaxed to allow for the provision of  fully</a:t>
                      </a:r>
                      <a:r>
                        <a:rPr lang="en-ZA" sz="1000" baseline="0" smtClean="0">
                          <a:solidFill>
                            <a:schemeClr val="tx1"/>
                          </a:solidFill>
                        </a:rPr>
                        <a:t> fledged psychological care services</a:t>
                      </a:r>
                      <a:endParaRPr lang="en-ZA" sz="10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1127760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0/2407 = 0.00% 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0/2052 = 0.00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Glencoe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000" smtClean="0">
                          <a:solidFill>
                            <a:schemeClr val="tx1"/>
                          </a:solidFill>
                        </a:rPr>
                        <a:t>arget for the quarter not met due to that limitation of the risk addjustment strategy. Size of the groups were limited to 8- 10 depending on the size of the venue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Covid 19 Risk Adjusted Strategy Regulation</a:t>
                      </a:r>
                      <a:endParaRPr lang="en-ZA" sz="10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smtClean="0">
                          <a:solidFill>
                            <a:schemeClr val="tx1"/>
                          </a:solidFill>
                        </a:rPr>
                        <a:t>Covid 19 Risk Adjusted Strategy Regulation are not relaxed to allow for the provision of  fully</a:t>
                      </a:r>
                      <a:r>
                        <a:rPr lang="en-ZA" sz="1000" baseline="0" smtClean="0">
                          <a:solidFill>
                            <a:schemeClr val="tx1"/>
                          </a:solidFill>
                        </a:rPr>
                        <a:t> fledged psychological care services</a:t>
                      </a:r>
                      <a:endParaRPr lang="en-ZA" sz="10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1252248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360/2106 = 17.09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355/1605 = 22.12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Kokstad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Target for the quarter not met due to that limitation of the risk adjustment strategy. Size of the groups were limited to 8- 10 depending on the size of the venue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Covid 19 Risk Adjusted Strategy Regulation</a:t>
                      </a:r>
                      <a:endParaRPr lang="en-ZA" sz="10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Covid 19 Risk Adjusted Strategy Regulation are not relaxed to allow for the provision of  fully</a:t>
                      </a:r>
                      <a:r>
                        <a:rPr lang="en-ZA" sz="1000" baseline="0" dirty="0" smtClean="0">
                          <a:solidFill>
                            <a:schemeClr val="tx1"/>
                          </a:solidFill>
                        </a:rPr>
                        <a:t> fledged psychological care services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>
              <a:spcAft>
                <a:spcPts val="600"/>
              </a:spcAft>
            </a:pPr>
            <a:r>
              <a:rPr lang="en-ZA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centage of inmates receiving psychological care services</a:t>
            </a:r>
            <a:endParaRPr lang="en-ZA" kern="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0554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384334" y="-5367665"/>
            <a:ext cx="1440000" cy="1217533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9369" y="1440000"/>
            <a:ext cx="110362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2. 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CORRECTIONAL CENTRE LEVEL </a:t>
            </a:r>
            <a:r>
              <a:rPr lang="en-GB" sz="1800" b="1" kern="0" dirty="0" smtClean="0"/>
              <a:t>MANAGEMENT </a:t>
            </a:r>
            <a:endParaRPr lang="en-GB" sz="1800" b="1" kern="0" dirty="0" smtClean="0"/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/>
              <a:t> </a:t>
            </a:r>
            <a:r>
              <a:rPr lang="en-GB" sz="1800" b="1" kern="0" dirty="0" smtClean="0"/>
              <a:t>         </a:t>
            </a:r>
            <a:r>
              <a:rPr lang="en-GB" sz="1800" b="1" kern="0" dirty="0" smtClean="0"/>
              <a:t>AREA </a:t>
            </a:r>
            <a:r>
              <a:rPr lang="en-GB" sz="1800" b="1" kern="0" dirty="0" smtClean="0"/>
              <a:t>TO POPULATE</a:t>
            </a:r>
            <a:endParaRPr lang="en-ZA" sz="1800" b="1" kern="0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8318448"/>
              </p:ext>
            </p:extLst>
          </p:nvPr>
        </p:nvGraphicFramePr>
        <p:xfrm>
          <a:off x="1" y="2086330"/>
          <a:ext cx="12191998" cy="4619270"/>
        </p:xfrm>
        <a:graphic>
          <a:graphicData uri="http://schemas.openxmlformats.org/drawingml/2006/table">
            <a:tbl>
              <a:tblPr firstRow="1" bandRow="1"/>
              <a:tblGrid>
                <a:gridCol w="1741714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</a:tblGrid>
              <a:tr h="701197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 2020/21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UARTER 2</a:t>
                      </a:r>
                      <a:b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S THAT CONTRIBUTED TOWARDS UNDER-ACHIEVEMENT 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ASONS FOR UNDER</a:t>
                      </a:r>
                    </a:p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OOT CAUSES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SSOCIATED RISKS 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1432599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 Light" pitchFamily="34" charset="0"/>
                        </a:rPr>
                        <a:t>180/2865 = 6.28%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 Light" pitchFamily="34" charset="0"/>
                        </a:rPr>
                        <a:t>178/1963 = 9.07%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100" b="1" dirty="0" smtClean="0">
                          <a:solidFill>
                            <a:schemeClr val="tx1"/>
                          </a:solidFill>
                        </a:rPr>
                        <a:t>Ncome</a:t>
                      </a:r>
                      <a:endParaRPr lang="en-ZA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000" smtClean="0">
                          <a:solidFill>
                            <a:schemeClr val="tx1"/>
                          </a:solidFill>
                        </a:rPr>
                        <a:t>arget for the quarter not met due to that limitation of the risk addjustment strategy. Size of the groups were limited to 8- 10 depending on the size of the venue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Covid 19 Risk Adjusted Strategy Regulation</a:t>
                      </a:r>
                      <a:endParaRPr lang="en-ZA" sz="10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Covid 19 Risk Adjusted Strategy Regulation are not relaxed to allow for the provision of  fully</a:t>
                      </a:r>
                      <a:r>
                        <a:rPr lang="en-ZA" sz="1000" baseline="0" dirty="0" smtClean="0">
                          <a:solidFill>
                            <a:schemeClr val="tx1"/>
                          </a:solidFill>
                        </a:rPr>
                        <a:t> fledged psychological care services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1242737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 Light" pitchFamily="34" charset="0"/>
                        </a:rPr>
                        <a:t>540/6262 = 8.62%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 Light" pitchFamily="34" charset="0"/>
                        </a:rPr>
                        <a:t>445/4548 = 9.78%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PMBurg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000" smtClean="0">
                          <a:solidFill>
                            <a:schemeClr val="tx1"/>
                          </a:solidFill>
                        </a:rPr>
                        <a:t>arget for the quarter not met due to that limitation of the risk addjustment strategy. Size of the groups were limited to 8- 10 depending on the size of the venue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Covid 19 Risk Adjusted Strategy Regulation</a:t>
                      </a:r>
                      <a:endParaRPr lang="en-ZA" sz="10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smtClean="0">
                          <a:solidFill>
                            <a:schemeClr val="tx1"/>
                          </a:solidFill>
                        </a:rPr>
                        <a:t>Covid 19 Risk Adjusted Strategy Regulation are not relaxed to allow for the provision of  fully</a:t>
                      </a:r>
                      <a:r>
                        <a:rPr lang="en-ZA" sz="1000" baseline="0" smtClean="0">
                          <a:solidFill>
                            <a:schemeClr val="tx1"/>
                          </a:solidFill>
                        </a:rPr>
                        <a:t> fledged psychological care services</a:t>
                      </a:r>
                      <a:endParaRPr lang="en-ZA" sz="10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1242737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 Light" pitchFamily="34" charset="0"/>
                        </a:rPr>
                        <a:t>180/2422 = 7.43%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 Light" pitchFamily="34" charset="0"/>
                        </a:rPr>
                        <a:t>192/1800 = 10.67%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Waterval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Target for the quarter not met due to that limitation of the risk adjustment strategy. Size of the groups were limited to 8- 10 depending on the size of the venue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Covid 19 Risk Adjusted Strategy Regulation</a:t>
                      </a:r>
                      <a:endParaRPr lang="en-ZA" sz="10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Covid 19 Risk Adjusted Strategy Regulation are not relaxed to allow for the provision of  fully</a:t>
                      </a:r>
                      <a:r>
                        <a:rPr lang="en-ZA" sz="1000" baseline="0" dirty="0" smtClean="0">
                          <a:solidFill>
                            <a:schemeClr val="tx1"/>
                          </a:solidFill>
                        </a:rPr>
                        <a:t> fledged psychological care services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>
              <a:spcAft>
                <a:spcPts val="600"/>
              </a:spcAft>
            </a:pPr>
            <a:r>
              <a:rPr lang="en-ZA" sz="24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centage of inmates receiving psychological care services</a:t>
            </a:r>
            <a:endParaRPr lang="en-ZA" sz="2400" kern="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0554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231935" y="-5215267"/>
            <a:ext cx="1440000" cy="11870533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228600" y="1673596"/>
            <a:ext cx="11658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</a:t>
            </a:r>
            <a:r>
              <a:rPr lang="en-GB" sz="1800" b="1" kern="0" dirty="0" smtClean="0">
                <a:solidFill>
                  <a:prstClr val="black"/>
                </a:solidFill>
              </a:rPr>
              <a:t>4. PROJECT PLAN TO ADDRESS UNDER PERFORMANCE </a:t>
            </a:r>
            <a:r>
              <a:rPr lang="en-GB" sz="1800" b="1" kern="0" dirty="0" smtClean="0"/>
              <a:t>MANAGEMENT AREA TO POPULATE</a:t>
            </a:r>
            <a:endParaRPr lang="en-ZA" sz="1800" b="1" kern="0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047451"/>
              </p:ext>
            </p:extLst>
          </p:nvPr>
        </p:nvGraphicFramePr>
        <p:xfrm>
          <a:off x="215900" y="2298902"/>
          <a:ext cx="11671302" cy="4471130"/>
        </p:xfrm>
        <a:graphic>
          <a:graphicData uri="http://schemas.openxmlformats.org/drawingml/2006/table">
            <a:tbl>
              <a:tblPr firstRow="1" bandRow="1"/>
              <a:tblGrid>
                <a:gridCol w="1945217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</a:tblGrid>
              <a:tr h="584930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CTIVITY / ACTIVITIES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SPONSIBILITY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IME FRAM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ROGRESS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860192">
                <a:tc>
                  <a:txBody>
                    <a:bodyPr/>
                    <a:lstStyle/>
                    <a:p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Durban</a:t>
                      </a:r>
                      <a:endParaRPr lang="en-ZA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</a:p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Continue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to involve  more offenders in psychological care servic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rea Commissioner and Area Coordinator Dev &amp; Care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October 2020 and ongoing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Offenders are involve in psychological care services as the Covid 19 Risk Adjusted Strategy Regulation are not relaxed.</a:t>
                      </a:r>
                      <a:endParaRPr lang="en-ZA" sz="110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860192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Empangeni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Continue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to involve  more offenders in psychological care servic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rea Commissioner and Area Coordinator Dev &amp; Care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October 2020 and ongoing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Offenders are involve in psychological care services as the Covid 19 Risk Adjusted Strategy Regulation are not relaxed.</a:t>
                      </a:r>
                      <a:endParaRPr lang="en-ZA" sz="11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860192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Glencoe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Continue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to involve  more offenders in psychological care servic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rea Commissioner and Area Coordinator Dev &amp; Care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October 2020 and ongoing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Offenders are involve in psychological care services as the Covid 19 Risk Adjusted Strategy Regulation are not relaxed.</a:t>
                      </a:r>
                      <a:endParaRPr lang="en-ZA" sz="11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860192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Kokstad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Continue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to involve  more offenders in psychological care servic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rea Commissioner and Area Coordinator Dev &amp; Care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October 2020 and ongoing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dirty="0" smtClean="0">
                          <a:solidFill>
                            <a:schemeClr val="accent4"/>
                          </a:solidFill>
                        </a:rPr>
                        <a:t>Offenders are involve in psychological care services as the Covid 19 Risk Adjusted Strategy Regulation are not relaxed.</a:t>
                      </a:r>
                      <a:endParaRPr lang="en-ZA" sz="1100" baseline="0" dirty="0" smtClean="0">
                        <a:solidFill>
                          <a:schemeClr val="accent4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PLAN TO ADDRESS UNDER PERFORMANCE:</a:t>
            </a:r>
          </a:p>
          <a:p>
            <a:pPr>
              <a:spcAft>
                <a:spcPts val="600"/>
              </a:spcAft>
            </a:pPr>
            <a:r>
              <a:rPr lang="en-ZA" sz="2400" kern="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Percentage of inmates receiving psychological care services</a:t>
            </a:r>
            <a:endParaRPr lang="en-ZA" sz="2400" kern="0" dirty="0">
              <a:solidFill>
                <a:srgbClr val="FFFFFF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8957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223602" y="-5166826"/>
            <a:ext cx="1440000" cy="11887203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9372" y="1440000"/>
            <a:ext cx="117054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</a:t>
            </a:r>
            <a:r>
              <a:rPr lang="en-GB" sz="1800" b="1" kern="0" dirty="0" smtClean="0">
                <a:solidFill>
                  <a:prstClr val="black"/>
                </a:solidFill>
              </a:rPr>
              <a:t>4. PROJECT PLAN TO ADDRESS UNDER </a:t>
            </a:r>
            <a:r>
              <a:rPr lang="en-GB" sz="1800" b="1" kern="0" dirty="0" smtClean="0"/>
              <a:t>PERFORMANCE MANAGEMENT AREA TO POPULATE</a:t>
            </a:r>
            <a:endParaRPr lang="en-ZA" sz="1800" b="1" kern="0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047451"/>
              </p:ext>
            </p:extLst>
          </p:nvPr>
        </p:nvGraphicFramePr>
        <p:xfrm>
          <a:off x="29372" y="2042928"/>
          <a:ext cx="11857830" cy="3976873"/>
        </p:xfrm>
        <a:graphic>
          <a:graphicData uri="http://schemas.openxmlformats.org/drawingml/2006/table">
            <a:tbl>
              <a:tblPr firstRow="1" bandRow="1"/>
              <a:tblGrid>
                <a:gridCol w="1976305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976305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976305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976305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976305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976305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</a:tblGrid>
              <a:tr h="734857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CTIVITY / ACTIVITIES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SPONSIBILITY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IME FRAM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ROGRESS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1080672">
                <a:tc>
                  <a:txBody>
                    <a:bodyPr/>
                    <a:lstStyle/>
                    <a:p>
                      <a:r>
                        <a:rPr lang="en-ZA" sz="1100" b="1" dirty="0" smtClean="0">
                          <a:solidFill>
                            <a:schemeClr val="tx1"/>
                          </a:solidFill>
                        </a:rPr>
                        <a:t>Ncome</a:t>
                      </a:r>
                      <a:endParaRPr lang="en-ZA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Continue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to involve  more offenders in psychological care servic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rea Commissioner and Area Coordinator Dev &amp; Care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October 2020 and ongoing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Offenders are involve in psychological</a:t>
                      </a:r>
                      <a:r>
                        <a:rPr lang="en-ZA" sz="11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care services as the Covid 19 Risk Adjusted Strategy Regulation are not relaxed.</a:t>
                      </a:r>
                      <a:endParaRPr lang="en-ZA" sz="11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1080672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PMBurg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Continue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to involve  more offenders in psychological care servic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rea Commissioner and Area Coordinator Dev &amp; Care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October 2020 and ongoing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Offenders are involve in psychological</a:t>
                      </a:r>
                      <a:r>
                        <a:rPr lang="en-ZA" sz="11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care services as the Covid 19 Risk Adjusted Strategy Regulation are not relaxed.</a:t>
                      </a:r>
                      <a:endParaRPr lang="en-ZA" sz="11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1080672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Waterval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Continue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to involve  more offenders in psychological care servic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rea Commissioner and Area Coordinator Dev &amp; Care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October 2020 and ongoing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Offenders are involve in psychological</a:t>
                      </a:r>
                      <a:r>
                        <a:rPr lang="en-ZA" sz="11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care services as the Covid 19 Risk Adjusted Strategy Regulation are not relaxed.</a:t>
                      </a:r>
                      <a:endParaRPr lang="en-ZA" sz="11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PLAN TO ADDRESS UNDER PERFORMANCE:</a:t>
            </a:r>
          </a:p>
          <a:p>
            <a:pPr>
              <a:spcAft>
                <a:spcPts val="600"/>
              </a:spcAft>
            </a:pPr>
            <a:r>
              <a:rPr lang="en-ZA" kern="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Percentage of inmates receiving psychological care services</a:t>
            </a:r>
            <a:endParaRPr lang="en-ZA" kern="0" dirty="0">
              <a:solidFill>
                <a:srgbClr val="FFFFFF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8957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6"/>
          <p:cNvGrpSpPr/>
          <p:nvPr/>
        </p:nvGrpSpPr>
        <p:grpSpPr>
          <a:xfrm>
            <a:off x="65498" y="-21773"/>
            <a:ext cx="8392701" cy="6270173"/>
            <a:chOff x="65499" y="-21773"/>
            <a:chExt cx="7302314" cy="5185651"/>
          </a:xfrm>
        </p:grpSpPr>
        <p:sp>
          <p:nvSpPr>
            <p:cNvPr id="3" name="Rectangle: Top Corners Rounded 24">
              <a:extLst>
                <a:ext uri="{FF2B5EF4-FFF2-40B4-BE49-F238E27FC236}">
                  <a16:creationId xmlns="" xmlns:a16="http://schemas.microsoft.com/office/drawing/2014/main" id="{0DC4C310-37AB-43E0-9D8B-683A5AE91EB8}"/>
                </a:ext>
              </a:extLst>
            </p:cNvPr>
            <p:cNvSpPr/>
            <p:nvPr/>
          </p:nvSpPr>
          <p:spPr>
            <a:xfrm rot="10800000">
              <a:off x="575313" y="-10887"/>
              <a:ext cx="6282685" cy="5174765"/>
            </a:xfrm>
            <a:prstGeom prst="round2SameRect">
              <a:avLst>
                <a:gd name="adj1" fmla="val 13687"/>
                <a:gd name="adj2" fmla="val 0"/>
              </a:avLst>
            </a:prstGeom>
            <a:gradFill flip="none" rotWithShape="1">
              <a:gsLst>
                <a:gs pos="99000">
                  <a:srgbClr val="00CC99"/>
                </a:gs>
                <a:gs pos="1000">
                  <a:srgbClr val="009900"/>
                </a:gs>
              </a:gsLst>
              <a:lin ang="162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5" name="Isosceles Triangle 3"/>
            <p:cNvSpPr/>
            <p:nvPr/>
          </p:nvSpPr>
          <p:spPr bwMode="auto">
            <a:xfrm>
              <a:off x="6847113" y="-21773"/>
              <a:ext cx="520700" cy="1270000"/>
            </a:xfrm>
            <a:custGeom>
              <a:avLst/>
              <a:gdLst>
                <a:gd name="connsiteX0" fmla="*/ 0 w 431800"/>
                <a:gd name="connsiteY0" fmla="*/ 1143000 h 1143000"/>
                <a:gd name="connsiteX1" fmla="*/ 215900 w 431800"/>
                <a:gd name="connsiteY1" fmla="*/ 0 h 1143000"/>
                <a:gd name="connsiteX2" fmla="*/ 431800 w 431800"/>
                <a:gd name="connsiteY2" fmla="*/ 1143000 h 1143000"/>
                <a:gd name="connsiteX3" fmla="*/ 0 w 431800"/>
                <a:gd name="connsiteY3" fmla="*/ 1143000 h 1143000"/>
                <a:gd name="connsiteX0" fmla="*/ 0 w 647700"/>
                <a:gd name="connsiteY0" fmla="*/ 1117600 h 1117600"/>
                <a:gd name="connsiteX1" fmla="*/ 647700 w 647700"/>
                <a:gd name="connsiteY1" fmla="*/ 0 h 1117600"/>
                <a:gd name="connsiteX2" fmla="*/ 431800 w 647700"/>
                <a:gd name="connsiteY2" fmla="*/ 1117600 h 1117600"/>
                <a:gd name="connsiteX3" fmla="*/ 0 w 647700"/>
                <a:gd name="connsiteY3" fmla="*/ 1117600 h 1117600"/>
                <a:gd name="connsiteX0" fmla="*/ 0 w 647700"/>
                <a:gd name="connsiteY0" fmla="*/ 1117600 h 1244600"/>
                <a:gd name="connsiteX1" fmla="*/ 647700 w 647700"/>
                <a:gd name="connsiteY1" fmla="*/ 0 h 1244600"/>
                <a:gd name="connsiteX2" fmla="*/ 558800 w 647700"/>
                <a:gd name="connsiteY2" fmla="*/ 1244600 h 1244600"/>
                <a:gd name="connsiteX3" fmla="*/ 0 w 647700"/>
                <a:gd name="connsiteY3" fmla="*/ 1117600 h 1244600"/>
                <a:gd name="connsiteX0" fmla="*/ 0 w 647700"/>
                <a:gd name="connsiteY0" fmla="*/ 1270000 h 1397000"/>
                <a:gd name="connsiteX1" fmla="*/ 647700 w 647700"/>
                <a:gd name="connsiteY1" fmla="*/ 0 h 1397000"/>
                <a:gd name="connsiteX2" fmla="*/ 558800 w 647700"/>
                <a:gd name="connsiteY2" fmla="*/ 1397000 h 1397000"/>
                <a:gd name="connsiteX3" fmla="*/ 0 w 647700"/>
                <a:gd name="connsiteY3" fmla="*/ 1270000 h 1397000"/>
                <a:gd name="connsiteX0" fmla="*/ 0 w 469900"/>
                <a:gd name="connsiteY0" fmla="*/ 1701800 h 1701800"/>
                <a:gd name="connsiteX1" fmla="*/ 469900 w 469900"/>
                <a:gd name="connsiteY1" fmla="*/ 0 h 1701800"/>
                <a:gd name="connsiteX2" fmla="*/ 381000 w 469900"/>
                <a:gd name="connsiteY2" fmla="*/ 1397000 h 1701800"/>
                <a:gd name="connsiteX3" fmla="*/ 0 w 469900"/>
                <a:gd name="connsiteY3" fmla="*/ 1701800 h 1701800"/>
                <a:gd name="connsiteX0" fmla="*/ 0 w 596900"/>
                <a:gd name="connsiteY0" fmla="*/ 1346200 h 1397000"/>
                <a:gd name="connsiteX1" fmla="*/ 596900 w 596900"/>
                <a:gd name="connsiteY1" fmla="*/ 0 h 1397000"/>
                <a:gd name="connsiteX2" fmla="*/ 508000 w 596900"/>
                <a:gd name="connsiteY2" fmla="*/ 1397000 h 1397000"/>
                <a:gd name="connsiteX3" fmla="*/ 0 w 596900"/>
                <a:gd name="connsiteY3" fmla="*/ 1346200 h 1397000"/>
                <a:gd name="connsiteX0" fmla="*/ 0 w 596900"/>
                <a:gd name="connsiteY0" fmla="*/ 1346200 h 1397000"/>
                <a:gd name="connsiteX1" fmla="*/ 596900 w 596900"/>
                <a:gd name="connsiteY1" fmla="*/ 0 h 1397000"/>
                <a:gd name="connsiteX2" fmla="*/ 584200 w 596900"/>
                <a:gd name="connsiteY2" fmla="*/ 1397000 h 1397000"/>
                <a:gd name="connsiteX3" fmla="*/ 0 w 596900"/>
                <a:gd name="connsiteY3" fmla="*/ 1346200 h 1397000"/>
                <a:gd name="connsiteX0" fmla="*/ 0 w 584200"/>
                <a:gd name="connsiteY0" fmla="*/ 1193800 h 1244600"/>
                <a:gd name="connsiteX1" fmla="*/ 495300 w 584200"/>
                <a:gd name="connsiteY1" fmla="*/ 0 h 1244600"/>
                <a:gd name="connsiteX2" fmla="*/ 584200 w 584200"/>
                <a:gd name="connsiteY2" fmla="*/ 1244600 h 1244600"/>
                <a:gd name="connsiteX3" fmla="*/ 0 w 584200"/>
                <a:gd name="connsiteY3" fmla="*/ 1193800 h 1244600"/>
                <a:gd name="connsiteX0" fmla="*/ 0 w 584200"/>
                <a:gd name="connsiteY0" fmla="*/ 1219200 h 1270000"/>
                <a:gd name="connsiteX1" fmla="*/ 571500 w 584200"/>
                <a:gd name="connsiteY1" fmla="*/ 0 h 1270000"/>
                <a:gd name="connsiteX2" fmla="*/ 584200 w 584200"/>
                <a:gd name="connsiteY2" fmla="*/ 1270000 h 1270000"/>
                <a:gd name="connsiteX3" fmla="*/ 0 w 584200"/>
                <a:gd name="connsiteY3" fmla="*/ 1219200 h 1270000"/>
                <a:gd name="connsiteX0" fmla="*/ 469900 w 469900"/>
                <a:gd name="connsiteY0" fmla="*/ 1193800 h 1270000"/>
                <a:gd name="connsiteX1" fmla="*/ 0 w 469900"/>
                <a:gd name="connsiteY1" fmla="*/ 0 h 1270000"/>
                <a:gd name="connsiteX2" fmla="*/ 12700 w 469900"/>
                <a:gd name="connsiteY2" fmla="*/ 1270000 h 1270000"/>
                <a:gd name="connsiteX3" fmla="*/ 469900 w 469900"/>
                <a:gd name="connsiteY3" fmla="*/ 1193800 h 1270000"/>
                <a:gd name="connsiteX0" fmla="*/ 469900 w 469900"/>
                <a:gd name="connsiteY0" fmla="*/ 1193800 h 1270000"/>
                <a:gd name="connsiteX1" fmla="*/ 0 w 469900"/>
                <a:gd name="connsiteY1" fmla="*/ 0 h 1270000"/>
                <a:gd name="connsiteX2" fmla="*/ 12700 w 469900"/>
                <a:gd name="connsiteY2" fmla="*/ 1270000 h 1270000"/>
                <a:gd name="connsiteX3" fmla="*/ 469900 w 469900"/>
                <a:gd name="connsiteY3" fmla="*/ 1193800 h 1270000"/>
                <a:gd name="connsiteX0" fmla="*/ 495300 w 495300"/>
                <a:gd name="connsiteY0" fmla="*/ 1193800 h 1270000"/>
                <a:gd name="connsiteX1" fmla="*/ 0 w 495300"/>
                <a:gd name="connsiteY1" fmla="*/ 0 h 1270000"/>
                <a:gd name="connsiteX2" fmla="*/ 12700 w 495300"/>
                <a:gd name="connsiteY2" fmla="*/ 1270000 h 1270000"/>
                <a:gd name="connsiteX3" fmla="*/ 495300 w 495300"/>
                <a:gd name="connsiteY3" fmla="*/ 1193800 h 1270000"/>
                <a:gd name="connsiteX0" fmla="*/ 520700 w 520700"/>
                <a:gd name="connsiteY0" fmla="*/ 1270000 h 1270000"/>
                <a:gd name="connsiteX1" fmla="*/ 0 w 520700"/>
                <a:gd name="connsiteY1" fmla="*/ 0 h 1270000"/>
                <a:gd name="connsiteX2" fmla="*/ 12700 w 520700"/>
                <a:gd name="connsiteY2" fmla="*/ 1270000 h 1270000"/>
                <a:gd name="connsiteX3" fmla="*/ 520700 w 520700"/>
                <a:gd name="connsiteY3" fmla="*/ 1270000 h 1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0700" h="1270000">
                  <a:moveTo>
                    <a:pt x="520700" y="1270000"/>
                  </a:moveTo>
                  <a:lnTo>
                    <a:pt x="0" y="0"/>
                  </a:lnTo>
                  <a:lnTo>
                    <a:pt x="12700" y="1270000"/>
                  </a:lnTo>
                  <a:lnTo>
                    <a:pt x="520700" y="1270000"/>
                  </a:lnTo>
                  <a:close/>
                </a:path>
              </a:pathLst>
            </a:custGeom>
            <a:solidFill>
              <a:srgbClr val="009900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n-ZA" smtClean="0">
                <a:solidFill>
                  <a:srgbClr val="000000"/>
                </a:solidFill>
              </a:endParaRPr>
            </a:p>
          </p:txBody>
        </p:sp>
        <p:sp>
          <p:nvSpPr>
            <p:cNvPr id="6" name="Isosceles Triangle 3"/>
            <p:cNvSpPr/>
            <p:nvPr/>
          </p:nvSpPr>
          <p:spPr bwMode="auto">
            <a:xfrm rot="10800000" flipV="1">
              <a:off x="65499" y="-10887"/>
              <a:ext cx="520700" cy="1270000"/>
            </a:xfrm>
            <a:custGeom>
              <a:avLst/>
              <a:gdLst>
                <a:gd name="connsiteX0" fmla="*/ 0 w 431800"/>
                <a:gd name="connsiteY0" fmla="*/ 1143000 h 1143000"/>
                <a:gd name="connsiteX1" fmla="*/ 215900 w 431800"/>
                <a:gd name="connsiteY1" fmla="*/ 0 h 1143000"/>
                <a:gd name="connsiteX2" fmla="*/ 431800 w 431800"/>
                <a:gd name="connsiteY2" fmla="*/ 1143000 h 1143000"/>
                <a:gd name="connsiteX3" fmla="*/ 0 w 431800"/>
                <a:gd name="connsiteY3" fmla="*/ 1143000 h 1143000"/>
                <a:gd name="connsiteX0" fmla="*/ 0 w 647700"/>
                <a:gd name="connsiteY0" fmla="*/ 1117600 h 1117600"/>
                <a:gd name="connsiteX1" fmla="*/ 647700 w 647700"/>
                <a:gd name="connsiteY1" fmla="*/ 0 h 1117600"/>
                <a:gd name="connsiteX2" fmla="*/ 431800 w 647700"/>
                <a:gd name="connsiteY2" fmla="*/ 1117600 h 1117600"/>
                <a:gd name="connsiteX3" fmla="*/ 0 w 647700"/>
                <a:gd name="connsiteY3" fmla="*/ 1117600 h 1117600"/>
                <a:gd name="connsiteX0" fmla="*/ 0 w 647700"/>
                <a:gd name="connsiteY0" fmla="*/ 1117600 h 1244600"/>
                <a:gd name="connsiteX1" fmla="*/ 647700 w 647700"/>
                <a:gd name="connsiteY1" fmla="*/ 0 h 1244600"/>
                <a:gd name="connsiteX2" fmla="*/ 558800 w 647700"/>
                <a:gd name="connsiteY2" fmla="*/ 1244600 h 1244600"/>
                <a:gd name="connsiteX3" fmla="*/ 0 w 647700"/>
                <a:gd name="connsiteY3" fmla="*/ 1117600 h 1244600"/>
                <a:gd name="connsiteX0" fmla="*/ 0 w 647700"/>
                <a:gd name="connsiteY0" fmla="*/ 1270000 h 1397000"/>
                <a:gd name="connsiteX1" fmla="*/ 647700 w 647700"/>
                <a:gd name="connsiteY1" fmla="*/ 0 h 1397000"/>
                <a:gd name="connsiteX2" fmla="*/ 558800 w 647700"/>
                <a:gd name="connsiteY2" fmla="*/ 1397000 h 1397000"/>
                <a:gd name="connsiteX3" fmla="*/ 0 w 647700"/>
                <a:gd name="connsiteY3" fmla="*/ 1270000 h 1397000"/>
                <a:gd name="connsiteX0" fmla="*/ 0 w 469900"/>
                <a:gd name="connsiteY0" fmla="*/ 1701800 h 1701800"/>
                <a:gd name="connsiteX1" fmla="*/ 469900 w 469900"/>
                <a:gd name="connsiteY1" fmla="*/ 0 h 1701800"/>
                <a:gd name="connsiteX2" fmla="*/ 381000 w 469900"/>
                <a:gd name="connsiteY2" fmla="*/ 1397000 h 1701800"/>
                <a:gd name="connsiteX3" fmla="*/ 0 w 469900"/>
                <a:gd name="connsiteY3" fmla="*/ 1701800 h 1701800"/>
                <a:gd name="connsiteX0" fmla="*/ 0 w 596900"/>
                <a:gd name="connsiteY0" fmla="*/ 1346200 h 1397000"/>
                <a:gd name="connsiteX1" fmla="*/ 596900 w 596900"/>
                <a:gd name="connsiteY1" fmla="*/ 0 h 1397000"/>
                <a:gd name="connsiteX2" fmla="*/ 508000 w 596900"/>
                <a:gd name="connsiteY2" fmla="*/ 1397000 h 1397000"/>
                <a:gd name="connsiteX3" fmla="*/ 0 w 596900"/>
                <a:gd name="connsiteY3" fmla="*/ 1346200 h 1397000"/>
                <a:gd name="connsiteX0" fmla="*/ 0 w 596900"/>
                <a:gd name="connsiteY0" fmla="*/ 1346200 h 1397000"/>
                <a:gd name="connsiteX1" fmla="*/ 596900 w 596900"/>
                <a:gd name="connsiteY1" fmla="*/ 0 h 1397000"/>
                <a:gd name="connsiteX2" fmla="*/ 584200 w 596900"/>
                <a:gd name="connsiteY2" fmla="*/ 1397000 h 1397000"/>
                <a:gd name="connsiteX3" fmla="*/ 0 w 596900"/>
                <a:gd name="connsiteY3" fmla="*/ 1346200 h 1397000"/>
                <a:gd name="connsiteX0" fmla="*/ 0 w 584200"/>
                <a:gd name="connsiteY0" fmla="*/ 1193800 h 1244600"/>
                <a:gd name="connsiteX1" fmla="*/ 495300 w 584200"/>
                <a:gd name="connsiteY1" fmla="*/ 0 h 1244600"/>
                <a:gd name="connsiteX2" fmla="*/ 584200 w 584200"/>
                <a:gd name="connsiteY2" fmla="*/ 1244600 h 1244600"/>
                <a:gd name="connsiteX3" fmla="*/ 0 w 584200"/>
                <a:gd name="connsiteY3" fmla="*/ 1193800 h 1244600"/>
                <a:gd name="connsiteX0" fmla="*/ 0 w 584200"/>
                <a:gd name="connsiteY0" fmla="*/ 1219200 h 1270000"/>
                <a:gd name="connsiteX1" fmla="*/ 571500 w 584200"/>
                <a:gd name="connsiteY1" fmla="*/ 0 h 1270000"/>
                <a:gd name="connsiteX2" fmla="*/ 584200 w 584200"/>
                <a:gd name="connsiteY2" fmla="*/ 1270000 h 1270000"/>
                <a:gd name="connsiteX3" fmla="*/ 0 w 584200"/>
                <a:gd name="connsiteY3" fmla="*/ 1219200 h 1270000"/>
                <a:gd name="connsiteX0" fmla="*/ 469900 w 469900"/>
                <a:gd name="connsiteY0" fmla="*/ 1193800 h 1270000"/>
                <a:gd name="connsiteX1" fmla="*/ 0 w 469900"/>
                <a:gd name="connsiteY1" fmla="*/ 0 h 1270000"/>
                <a:gd name="connsiteX2" fmla="*/ 12700 w 469900"/>
                <a:gd name="connsiteY2" fmla="*/ 1270000 h 1270000"/>
                <a:gd name="connsiteX3" fmla="*/ 469900 w 469900"/>
                <a:gd name="connsiteY3" fmla="*/ 1193800 h 1270000"/>
                <a:gd name="connsiteX0" fmla="*/ 469900 w 469900"/>
                <a:gd name="connsiteY0" fmla="*/ 1193800 h 1270000"/>
                <a:gd name="connsiteX1" fmla="*/ 0 w 469900"/>
                <a:gd name="connsiteY1" fmla="*/ 0 h 1270000"/>
                <a:gd name="connsiteX2" fmla="*/ 12700 w 469900"/>
                <a:gd name="connsiteY2" fmla="*/ 1270000 h 1270000"/>
                <a:gd name="connsiteX3" fmla="*/ 469900 w 469900"/>
                <a:gd name="connsiteY3" fmla="*/ 1193800 h 1270000"/>
                <a:gd name="connsiteX0" fmla="*/ 495300 w 495300"/>
                <a:gd name="connsiteY0" fmla="*/ 1193800 h 1270000"/>
                <a:gd name="connsiteX1" fmla="*/ 0 w 495300"/>
                <a:gd name="connsiteY1" fmla="*/ 0 h 1270000"/>
                <a:gd name="connsiteX2" fmla="*/ 12700 w 495300"/>
                <a:gd name="connsiteY2" fmla="*/ 1270000 h 1270000"/>
                <a:gd name="connsiteX3" fmla="*/ 495300 w 495300"/>
                <a:gd name="connsiteY3" fmla="*/ 1193800 h 1270000"/>
                <a:gd name="connsiteX0" fmla="*/ 520700 w 520700"/>
                <a:gd name="connsiteY0" fmla="*/ 1270000 h 1270000"/>
                <a:gd name="connsiteX1" fmla="*/ 0 w 520700"/>
                <a:gd name="connsiteY1" fmla="*/ 0 h 1270000"/>
                <a:gd name="connsiteX2" fmla="*/ 12700 w 520700"/>
                <a:gd name="connsiteY2" fmla="*/ 1270000 h 1270000"/>
                <a:gd name="connsiteX3" fmla="*/ 520700 w 520700"/>
                <a:gd name="connsiteY3" fmla="*/ 1270000 h 1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0700" h="1270000">
                  <a:moveTo>
                    <a:pt x="520700" y="1270000"/>
                  </a:moveTo>
                  <a:lnTo>
                    <a:pt x="0" y="0"/>
                  </a:lnTo>
                  <a:lnTo>
                    <a:pt x="12700" y="1270000"/>
                  </a:lnTo>
                  <a:lnTo>
                    <a:pt x="520700" y="1270000"/>
                  </a:lnTo>
                  <a:close/>
                </a:path>
              </a:pathLst>
            </a:custGeom>
            <a:solidFill>
              <a:srgbClr val="009900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n-ZA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838199" y="1088570"/>
            <a:ext cx="6910985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6600" dirty="0" smtClean="0">
                <a:solidFill>
                  <a:prstClr val="white"/>
                </a:solidFill>
                <a:latin typeface="Arial Black" panose="020B0A04020102020204" pitchFamily="34" charset="0"/>
              </a:rPr>
              <a:t>PROGRAMME</a:t>
            </a:r>
          </a:p>
          <a:p>
            <a:pPr algn="ctr"/>
            <a:r>
              <a:rPr lang="en-ZA" sz="6600" dirty="0" smtClean="0">
                <a:solidFill>
                  <a:prstClr val="white"/>
                </a:solidFill>
                <a:latin typeface="Arial Black" panose="020B0A04020102020204" pitchFamily="34" charset="0"/>
              </a:rPr>
              <a:t>  </a:t>
            </a:r>
          </a:p>
          <a:p>
            <a:pPr algn="ctr"/>
            <a:r>
              <a:rPr lang="en-ZA" sz="6000" dirty="0" smtClean="0">
                <a:solidFill>
                  <a:prstClr val="white"/>
                </a:solidFill>
                <a:latin typeface="Arial Black" panose="020B0A04020102020204" pitchFamily="34" charset="0"/>
              </a:rPr>
              <a:t>CARE</a:t>
            </a:r>
            <a:endParaRPr lang="en-ZA" sz="6000" dirty="0">
              <a:solidFill>
                <a:prstClr val="white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2255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278370" y="-5238520"/>
            <a:ext cx="1440000" cy="11870531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3103" y="0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>
              <a:spcAft>
                <a:spcPts val="600"/>
              </a:spcAft>
            </a:pPr>
            <a:r>
              <a:rPr lang="en-ZA" dirty="0" smtClean="0">
                <a:solidFill>
                  <a:schemeClr val="accent3"/>
                </a:solidFill>
                <a:latin typeface="Arial Black" pitchFamily="34" charset="0"/>
              </a:rPr>
              <a:t>Percentage of identified inmates who have tested for Corona virus Disease 2019 (COVID-19)</a:t>
            </a:r>
            <a:endParaRPr lang="en-ZA" kern="0" dirty="0" smtClean="0">
              <a:solidFill>
                <a:schemeClr val="accent3"/>
              </a:solidFill>
              <a:latin typeface="Arial Black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24509" y="1416746"/>
            <a:ext cx="8928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1. REGIONAL TARGET VERSUS PERFORMANCE FOR </a:t>
            </a:r>
            <a:r>
              <a:rPr lang="en-GB" sz="1800" b="1" kern="0" dirty="0" smtClean="0">
                <a:solidFill>
                  <a:prstClr val="black"/>
                </a:solidFill>
              </a:rPr>
              <a:t>2</a:t>
            </a:r>
            <a:r>
              <a:rPr lang="en-GB" sz="1800" b="1" kern="0" baseline="30000" dirty="0" smtClean="0">
                <a:solidFill>
                  <a:prstClr val="black"/>
                </a:solidFill>
              </a:rPr>
              <a:t>nd</a:t>
            </a:r>
            <a:r>
              <a:rPr lang="en-GB" sz="1800" b="1" kern="0" dirty="0" smtClean="0">
                <a:solidFill>
                  <a:prstClr val="black"/>
                </a:solidFill>
              </a:rPr>
              <a:t> QUARTER </a:t>
            </a:r>
            <a:r>
              <a:rPr lang="en-GB" sz="1800" b="1" kern="0" dirty="0">
                <a:solidFill>
                  <a:prstClr val="black"/>
                </a:solidFill>
              </a:rPr>
              <a:t>(2020/2021) 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28600" y="3048000"/>
            <a:ext cx="8915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2. 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MANAGEMENT AREA LEVEL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9973172"/>
              </p:ext>
            </p:extLst>
          </p:nvPr>
        </p:nvGraphicFramePr>
        <p:xfrm>
          <a:off x="228600" y="1808377"/>
          <a:ext cx="11658600" cy="1066800"/>
        </p:xfrm>
        <a:graphic>
          <a:graphicData uri="http://schemas.openxmlformats.org/drawingml/2006/table">
            <a:tbl>
              <a:tblPr firstRow="1" bandRow="1"/>
              <a:tblGrid>
                <a:gridCol w="1295400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72363429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971921"/>
                    </a:ext>
                  </a:extLst>
                </a:gridCol>
              </a:tblGrid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REGION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JULY</a:t>
                      </a:r>
                      <a:r>
                        <a:rPr lang="en-ZA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2020</a:t>
                      </a:r>
                      <a:br>
                        <a:rPr lang="en-ZA" sz="110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JULY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AUGUST</a:t>
                      </a:r>
                      <a:r>
                        <a:rPr lang="en-ZA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2020</a:t>
                      </a:r>
                      <a:br>
                        <a:rPr lang="en-ZA" sz="110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AUGUST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SEPTEMBER 2020 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SEPTEMBER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Q2 TARGET: 2020-2021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375654">
                <a:tc>
                  <a:txBody>
                    <a:bodyPr/>
                    <a:lstStyle/>
                    <a:p>
                      <a:r>
                        <a:rPr lang="en-ZA" dirty="0" smtClean="0">
                          <a:solidFill>
                            <a:schemeClr val="tx1"/>
                          </a:solidFill>
                        </a:rPr>
                        <a:t>Kwa</a:t>
                      </a:r>
                      <a:r>
                        <a:rPr lang="en-ZA" baseline="0" dirty="0" smtClean="0">
                          <a:solidFill>
                            <a:schemeClr val="tx1"/>
                          </a:solidFill>
                        </a:rPr>
                        <a:t> Zulu Natal</a:t>
                      </a:r>
                      <a:endParaRPr lang="en-ZA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0/0</a:t>
                      </a:r>
                      <a:r>
                        <a:rPr lang="en-US" sz="1100" b="1" baseline="0" dirty="0" smtClean="0">
                          <a:solidFill>
                            <a:schemeClr val="tx2"/>
                          </a:solidFill>
                        </a:rPr>
                        <a:t> = 0.00</a:t>
                      </a:r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 %</a:t>
                      </a:r>
                      <a:endParaRPr lang="en-US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82/94</a:t>
                      </a:r>
                      <a:r>
                        <a:rPr lang="en-US" sz="1100" b="1" baseline="0" dirty="0" smtClean="0">
                          <a:solidFill>
                            <a:schemeClr val="tx1"/>
                          </a:solidFill>
                        </a:rPr>
                        <a:t> = 87.23 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0/0</a:t>
                      </a:r>
                      <a:r>
                        <a:rPr lang="en-US" sz="1100" b="1" baseline="0" dirty="0" smtClean="0">
                          <a:solidFill>
                            <a:schemeClr val="tx2"/>
                          </a:solidFill>
                        </a:rPr>
                        <a:t> = 0.00</a:t>
                      </a:r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 %</a:t>
                      </a:r>
                    </a:p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49/498 = 29.92 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0/0</a:t>
                      </a:r>
                      <a:r>
                        <a:rPr lang="en-US" sz="1100" b="1" baseline="0" dirty="0" smtClean="0">
                          <a:solidFill>
                            <a:schemeClr val="tx2"/>
                          </a:solidFill>
                        </a:rPr>
                        <a:t> = 0.00</a:t>
                      </a:r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 %</a:t>
                      </a:r>
                    </a:p>
                    <a:p>
                      <a:pPr algn="ctr"/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6/8 = 75 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0/0</a:t>
                      </a:r>
                      <a:r>
                        <a:rPr lang="en-US" sz="1100" b="1" baseline="0" dirty="0" smtClean="0">
                          <a:solidFill>
                            <a:schemeClr val="tx2"/>
                          </a:solidFill>
                        </a:rPr>
                        <a:t> = 0.00</a:t>
                      </a:r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 %</a:t>
                      </a:r>
                    </a:p>
                    <a:p>
                      <a:pPr algn="ctr"/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373/736 = 50.68 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7948739"/>
              </p:ext>
            </p:extLst>
          </p:nvPr>
        </p:nvGraphicFramePr>
        <p:xfrm>
          <a:off x="228600" y="3581400"/>
          <a:ext cx="11658600" cy="2616951"/>
        </p:xfrm>
        <a:graphic>
          <a:graphicData uri="http://schemas.openxmlformats.org/drawingml/2006/table">
            <a:tbl>
              <a:tblPr firstRow="1" bandRow="1"/>
              <a:tblGrid>
                <a:gridCol w="1295400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72363429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971921"/>
                    </a:ext>
                  </a:extLst>
                </a:gridCol>
              </a:tblGrid>
              <a:tr h="578803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JULY 2020</a:t>
                      </a:r>
                      <a:b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JULY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UGUST 2020</a:t>
                      </a:r>
                      <a:b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UGUST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SEPTEMBER 2020 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SEPTEMBER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: 2020-2021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509537">
                <a:tc>
                  <a:txBody>
                    <a:bodyPr/>
                    <a:lstStyle/>
                    <a:p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Durban</a:t>
                      </a:r>
                      <a:endParaRPr lang="en-ZA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smtClean="0">
                          <a:solidFill>
                            <a:schemeClr val="tx2"/>
                          </a:solidFill>
                        </a:rPr>
                        <a:t>0/0</a:t>
                      </a:r>
                      <a:r>
                        <a:rPr lang="en-US" sz="1100" b="1" baseline="0" smtClean="0">
                          <a:solidFill>
                            <a:schemeClr val="tx2"/>
                          </a:solidFill>
                        </a:rPr>
                        <a:t> = 0.00</a:t>
                      </a:r>
                      <a:r>
                        <a:rPr lang="en-US" sz="1100" b="1" smtClean="0">
                          <a:solidFill>
                            <a:schemeClr val="tx2"/>
                          </a:solidFill>
                        </a:rPr>
                        <a:t> %</a:t>
                      </a:r>
                      <a:endParaRPr lang="en-US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0/12 = 0.00 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0/0</a:t>
                      </a:r>
                      <a:r>
                        <a:rPr lang="en-US" sz="1100" b="1" baseline="0" dirty="0" smtClean="0">
                          <a:solidFill>
                            <a:schemeClr val="tx2"/>
                          </a:solidFill>
                        </a:rPr>
                        <a:t> = 0.00</a:t>
                      </a:r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 %</a:t>
                      </a:r>
                      <a:endParaRPr lang="en-US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0/7 = 0.00 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0/0</a:t>
                      </a:r>
                      <a:r>
                        <a:rPr lang="en-US" sz="1100" b="1" baseline="0" dirty="0" smtClean="0">
                          <a:solidFill>
                            <a:schemeClr val="tx2"/>
                          </a:solidFill>
                        </a:rPr>
                        <a:t> = 0.00</a:t>
                      </a:r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 %</a:t>
                      </a:r>
                      <a:endParaRPr lang="en-US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 Light" pitchFamily="34" charset="0"/>
                        </a:rPr>
                        <a:t>0/2 = 0.00 %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0/0</a:t>
                      </a:r>
                      <a:r>
                        <a:rPr lang="en-US" sz="1100" b="1" baseline="0" dirty="0" smtClean="0">
                          <a:solidFill>
                            <a:schemeClr val="tx2"/>
                          </a:solidFill>
                        </a:rPr>
                        <a:t> = 0.00</a:t>
                      </a:r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 %</a:t>
                      </a:r>
                      <a:endParaRPr lang="en-US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20/141 = 85.11 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509537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Empangeni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smtClean="0">
                          <a:solidFill>
                            <a:schemeClr val="tx2"/>
                          </a:solidFill>
                        </a:rPr>
                        <a:t>0/0</a:t>
                      </a:r>
                      <a:r>
                        <a:rPr lang="en-US" sz="1100" b="1" baseline="0" smtClean="0">
                          <a:solidFill>
                            <a:schemeClr val="tx2"/>
                          </a:solidFill>
                        </a:rPr>
                        <a:t> = 0.00</a:t>
                      </a:r>
                      <a:r>
                        <a:rPr lang="en-US" sz="1100" b="1" smtClean="0">
                          <a:solidFill>
                            <a:schemeClr val="tx2"/>
                          </a:solidFill>
                        </a:rPr>
                        <a:t> %</a:t>
                      </a:r>
                      <a:endParaRPr lang="en-US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9/9 = 100 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0/0</a:t>
                      </a:r>
                      <a:r>
                        <a:rPr lang="en-US" sz="1100" b="1" baseline="0" dirty="0" smtClean="0">
                          <a:solidFill>
                            <a:schemeClr val="tx2"/>
                          </a:solidFill>
                        </a:rPr>
                        <a:t> = 0.00</a:t>
                      </a:r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 %</a:t>
                      </a:r>
                      <a:endParaRPr lang="en-US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75.252 = 29.76 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0/0</a:t>
                      </a:r>
                      <a:r>
                        <a:rPr lang="en-US" sz="1100" b="1" baseline="0" dirty="0" smtClean="0">
                          <a:solidFill>
                            <a:schemeClr val="tx2"/>
                          </a:solidFill>
                        </a:rPr>
                        <a:t> = 0.00</a:t>
                      </a:r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 %</a:t>
                      </a:r>
                      <a:endParaRPr lang="en-US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 Light" pitchFamily="34" charset="0"/>
                        </a:rPr>
                        <a:t>0/0 = 0.00 %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0/0</a:t>
                      </a:r>
                      <a:r>
                        <a:rPr lang="en-US" sz="1100" b="1" baseline="0" dirty="0" smtClean="0">
                          <a:solidFill>
                            <a:schemeClr val="tx2"/>
                          </a:solidFill>
                        </a:rPr>
                        <a:t> = 0.00</a:t>
                      </a:r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 %</a:t>
                      </a:r>
                      <a:endParaRPr lang="en-US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87/264 = 32.95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509537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Glencoe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smtClean="0">
                          <a:solidFill>
                            <a:schemeClr val="tx2"/>
                          </a:solidFill>
                        </a:rPr>
                        <a:t>0/0</a:t>
                      </a:r>
                      <a:r>
                        <a:rPr lang="en-US" sz="1100" b="1" baseline="0" smtClean="0">
                          <a:solidFill>
                            <a:schemeClr val="tx2"/>
                          </a:solidFill>
                        </a:rPr>
                        <a:t> = 0.00</a:t>
                      </a:r>
                      <a:r>
                        <a:rPr lang="en-US" sz="1100" b="1" smtClean="0">
                          <a:solidFill>
                            <a:schemeClr val="tx2"/>
                          </a:solidFill>
                        </a:rPr>
                        <a:t> %</a:t>
                      </a:r>
                      <a:endParaRPr lang="en-US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9/9 = 100 %</a:t>
                      </a:r>
                    </a:p>
                    <a:p>
                      <a:pPr algn="ctr"/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0/0</a:t>
                      </a:r>
                      <a:r>
                        <a:rPr lang="en-US" sz="1100" b="1" baseline="0" dirty="0" smtClean="0">
                          <a:solidFill>
                            <a:schemeClr val="tx2"/>
                          </a:solidFill>
                        </a:rPr>
                        <a:t> = 0.00</a:t>
                      </a:r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 %</a:t>
                      </a:r>
                      <a:endParaRPr lang="en-US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32/32 = 100 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0/0</a:t>
                      </a:r>
                      <a:r>
                        <a:rPr lang="en-US" sz="1100" b="1" baseline="0" dirty="0" smtClean="0">
                          <a:solidFill>
                            <a:schemeClr val="tx2"/>
                          </a:solidFill>
                        </a:rPr>
                        <a:t> = 0.00</a:t>
                      </a:r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 %</a:t>
                      </a:r>
                      <a:endParaRPr lang="en-US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 Light" pitchFamily="34" charset="0"/>
                        </a:rPr>
                        <a:t>4/4 =  100%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0/0</a:t>
                      </a:r>
                      <a:r>
                        <a:rPr lang="en-US" sz="1100" b="1" baseline="0" dirty="0" smtClean="0">
                          <a:solidFill>
                            <a:schemeClr val="tx2"/>
                          </a:solidFill>
                        </a:rPr>
                        <a:t> = 0.00</a:t>
                      </a:r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 %</a:t>
                      </a:r>
                      <a:endParaRPr lang="en-US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45/45 = 100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509537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Kokstad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0/0</a:t>
                      </a:r>
                      <a:r>
                        <a:rPr lang="en-US" sz="1100" b="1" baseline="0" dirty="0" smtClean="0">
                          <a:solidFill>
                            <a:schemeClr val="tx2"/>
                          </a:solidFill>
                        </a:rPr>
                        <a:t> = 0.00</a:t>
                      </a:r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 %</a:t>
                      </a:r>
                      <a:endParaRPr lang="en-US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8/8 = 100 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0/0</a:t>
                      </a:r>
                      <a:r>
                        <a:rPr lang="en-US" sz="1100" b="1" baseline="0" dirty="0" smtClean="0">
                          <a:solidFill>
                            <a:schemeClr val="tx2"/>
                          </a:solidFill>
                        </a:rPr>
                        <a:t> = 0.00</a:t>
                      </a:r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 %</a:t>
                      </a:r>
                      <a:endParaRPr lang="en-US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3/13 = 100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0/0</a:t>
                      </a:r>
                      <a:r>
                        <a:rPr lang="en-US" sz="1100" b="1" baseline="0" dirty="0" smtClean="0">
                          <a:solidFill>
                            <a:schemeClr val="tx2"/>
                          </a:solidFill>
                        </a:rPr>
                        <a:t> = 0.00</a:t>
                      </a:r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 %</a:t>
                      </a:r>
                      <a:endParaRPr lang="en-US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/1 = 100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0/0</a:t>
                      </a:r>
                      <a:r>
                        <a:rPr lang="en-US" sz="1100" b="1" baseline="0" dirty="0" smtClean="0">
                          <a:solidFill>
                            <a:schemeClr val="tx2"/>
                          </a:solidFill>
                        </a:rPr>
                        <a:t> = 0.00</a:t>
                      </a:r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 %</a:t>
                      </a:r>
                      <a:endParaRPr lang="en-US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2/22 = 100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47543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ChangeArrowheads="1"/>
          </p:cNvSpPr>
          <p:nvPr/>
        </p:nvSpPr>
        <p:spPr bwMode="auto">
          <a:xfrm>
            <a:off x="0" y="-153888"/>
            <a:ext cx="18473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en-ZA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7411" name="Rectangle 4"/>
          <p:cNvSpPr>
            <a:spLocks noChangeArrowheads="1"/>
          </p:cNvSpPr>
          <p:nvPr/>
        </p:nvSpPr>
        <p:spPr bwMode="auto">
          <a:xfrm>
            <a:off x="0" y="-153888"/>
            <a:ext cx="18473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en-ZA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7412" name="Rectangle 4"/>
          <p:cNvSpPr>
            <a:spLocks noChangeArrowheads="1"/>
          </p:cNvSpPr>
          <p:nvPr/>
        </p:nvSpPr>
        <p:spPr bwMode="auto">
          <a:xfrm>
            <a:off x="0" y="-153888"/>
            <a:ext cx="18473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en-ZA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7413" name="Rectangle 4"/>
          <p:cNvSpPr>
            <a:spLocks noChangeArrowheads="1"/>
          </p:cNvSpPr>
          <p:nvPr/>
        </p:nvSpPr>
        <p:spPr bwMode="auto">
          <a:xfrm>
            <a:off x="0" y="-153888"/>
            <a:ext cx="18473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en-ZA" dirty="0">
              <a:solidFill>
                <a:srgbClr val="000000"/>
              </a:solidFill>
              <a:latin typeface="Calibri" pitchFamily="34" charset="0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6132844"/>
              </p:ext>
            </p:extLst>
          </p:nvPr>
        </p:nvGraphicFramePr>
        <p:xfrm>
          <a:off x="609600" y="1295400"/>
          <a:ext cx="10972799" cy="12705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40424"/>
                <a:gridCol w="2259105"/>
                <a:gridCol w="2761129"/>
                <a:gridCol w="3012141"/>
              </a:tblGrid>
              <a:tr h="783002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400" b="1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otal No of Mid</a:t>
                      </a:r>
                      <a:r>
                        <a:rPr lang="en-US" sz="1400" b="1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term Targets </a:t>
                      </a:r>
                      <a:r>
                        <a:rPr lang="en-US" sz="1400" b="1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er MA</a:t>
                      </a:r>
                    </a:p>
                  </a:txBody>
                  <a:tcPr marL="121920" marR="12192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Achieved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Not Achieved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>
                          <a:solidFill>
                            <a:schemeClr val="tx1"/>
                          </a:solidFill>
                        </a:rPr>
                        <a:t>Target measured annually /per academic year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>
                    <a:solidFill>
                      <a:srgbClr val="92D050"/>
                    </a:solidFill>
                  </a:tcPr>
                </a:tc>
              </a:tr>
              <a:tr h="487580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/>
                        <a:t>25</a:t>
                      </a:r>
                      <a:endParaRPr lang="en-US" sz="1600" b="1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/>
                        <a:t>18</a:t>
                      </a:r>
                      <a:endParaRPr lang="en-US" sz="1600" b="1" dirty="0"/>
                    </a:p>
                  </a:txBody>
                  <a:tcPr marL="121920" marR="121920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/>
                        <a:t>07</a:t>
                      </a:r>
                      <a:endParaRPr lang="en-US" sz="1600" b="1" dirty="0"/>
                    </a:p>
                  </a:txBody>
                  <a:tcPr marL="121920" marR="12192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/>
                        <a:t>02</a:t>
                      </a:r>
                      <a:endParaRPr lang="en-US" sz="1600" b="1" dirty="0"/>
                    </a:p>
                  </a:txBody>
                  <a:tcPr marL="121920" marR="121920"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17448" name="Content Placeholder 6"/>
          <p:cNvSpPr>
            <a:spLocks noGrp="1"/>
          </p:cNvSpPr>
          <p:nvPr>
            <p:ph idx="1"/>
          </p:nvPr>
        </p:nvSpPr>
        <p:spPr>
          <a:xfrm>
            <a:off x="328085" y="609602"/>
            <a:ext cx="11660716" cy="664797"/>
          </a:xfrm>
        </p:spPr>
        <p:txBody>
          <a:bodyPr/>
          <a:lstStyle/>
          <a:p>
            <a:pPr algn="ctr" eaLnBrk="1" hangingPunct="1">
              <a:buNone/>
            </a:pPr>
            <a:r>
              <a:rPr lang="en-US" sz="2400" b="1" dirty="0" smtClean="0">
                <a:solidFill>
                  <a:srgbClr val="FF0000"/>
                </a:solidFill>
              </a:rPr>
              <a:t>Mid-term Performance Report on  Performance indicators 2019/20  </a:t>
            </a:r>
          </a:p>
        </p:txBody>
      </p:sp>
      <p:sp>
        <p:nvSpPr>
          <p:cNvPr id="2" name="Rectangle 1"/>
          <p:cNvSpPr/>
          <p:nvPr/>
        </p:nvSpPr>
        <p:spPr>
          <a:xfrm>
            <a:off x="4882121" y="3275113"/>
            <a:ext cx="182081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457200">
              <a:spcBef>
                <a:spcPct val="20000"/>
              </a:spcBef>
              <a:defRPr/>
            </a:pPr>
            <a:r>
              <a:rPr lang="en-US" b="1" dirty="0">
                <a:solidFill>
                  <a:schemeClr val="lt1"/>
                </a:solidFill>
              </a:rPr>
              <a:t>Total Nor of targets</a:t>
            </a:r>
          </a:p>
        </p:txBody>
      </p:sp>
      <p:sp>
        <p:nvSpPr>
          <p:cNvPr id="3" name="Rectangle 2"/>
          <p:cNvSpPr/>
          <p:nvPr/>
        </p:nvSpPr>
        <p:spPr>
          <a:xfrm>
            <a:off x="4882121" y="3275113"/>
            <a:ext cx="182081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457200">
              <a:spcBef>
                <a:spcPct val="20000"/>
              </a:spcBef>
              <a:defRPr/>
            </a:pPr>
            <a:r>
              <a:rPr lang="en-US" b="1" dirty="0">
                <a:solidFill>
                  <a:srgbClr val="FFFFFF"/>
                </a:solidFill>
                <a:latin typeface="Arial"/>
                <a:cs typeface="Arial"/>
              </a:rPr>
              <a:t>Total Nor of targets</a:t>
            </a:r>
          </a:p>
        </p:txBody>
      </p:sp>
      <p:graphicFrame>
        <p:nvGraphicFramePr>
          <p:cNvPr id="16" name="Chart 15"/>
          <p:cNvGraphicFramePr/>
          <p:nvPr>
            <p:extLst>
              <p:ext uri="{D42A27DB-BD31-4B8C-83A1-F6EECF244321}">
                <p14:modId xmlns:p14="http://schemas.microsoft.com/office/powerpoint/2010/main" val="780106769"/>
              </p:ext>
            </p:extLst>
          </p:nvPr>
        </p:nvGraphicFramePr>
        <p:xfrm>
          <a:off x="609600" y="2667000"/>
          <a:ext cx="10769600" cy="3733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6923067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190418" y="-5190419"/>
            <a:ext cx="1440000" cy="11820836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3103" y="0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>
              <a:spcAft>
                <a:spcPts val="600"/>
              </a:spcAft>
            </a:pPr>
            <a:r>
              <a:rPr lang="en-ZA" sz="2400" dirty="0" smtClean="0">
                <a:solidFill>
                  <a:schemeClr val="accent3"/>
                </a:solidFill>
                <a:latin typeface="Arial Black" pitchFamily="34" charset="0"/>
              </a:rPr>
              <a:t>Percentage of identified inmates who have tested for Corona virus Disease 2019 (COVID-19)</a:t>
            </a:r>
            <a:endParaRPr lang="en-ZA" sz="2400" kern="0" dirty="0" smtClean="0">
              <a:solidFill>
                <a:schemeClr val="accent3"/>
              </a:solidFill>
              <a:latin typeface="Arial Black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28600" y="1752600"/>
            <a:ext cx="8915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2. 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MANAGEMENT AREA LEVEL (CONT…)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5452979"/>
              </p:ext>
            </p:extLst>
          </p:nvPr>
        </p:nvGraphicFramePr>
        <p:xfrm>
          <a:off x="178905" y="2667000"/>
          <a:ext cx="11658600" cy="2107414"/>
        </p:xfrm>
        <a:graphic>
          <a:graphicData uri="http://schemas.openxmlformats.org/drawingml/2006/table">
            <a:tbl>
              <a:tblPr firstRow="1" bandRow="1"/>
              <a:tblGrid>
                <a:gridCol w="1295400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72363429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971921"/>
                    </a:ext>
                  </a:extLst>
                </a:gridCol>
              </a:tblGrid>
              <a:tr h="578803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JULY 2020</a:t>
                      </a:r>
                      <a:b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JULY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UGUST 2020</a:t>
                      </a:r>
                      <a:b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UGUST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SEPTEMBER 2020 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SEPTEMBER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: 2020-2021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509537">
                <a:tc>
                  <a:txBody>
                    <a:bodyPr/>
                    <a:lstStyle/>
                    <a:p>
                      <a:r>
                        <a:rPr lang="en-ZA" sz="1100" b="1" dirty="0" smtClean="0">
                          <a:solidFill>
                            <a:schemeClr val="tx1"/>
                          </a:solidFill>
                        </a:rPr>
                        <a:t>Ncome</a:t>
                      </a:r>
                      <a:endParaRPr lang="en-ZA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0/0</a:t>
                      </a:r>
                      <a:r>
                        <a:rPr lang="en-US" sz="1100" b="1" baseline="0" dirty="0" smtClean="0">
                          <a:solidFill>
                            <a:schemeClr val="tx2"/>
                          </a:solidFill>
                        </a:rPr>
                        <a:t> = 0.00</a:t>
                      </a:r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 %</a:t>
                      </a:r>
                      <a:endParaRPr lang="en-US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/1 = 100 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0/0</a:t>
                      </a:r>
                      <a:r>
                        <a:rPr lang="en-US" sz="1100" b="1" baseline="0" dirty="0" smtClean="0">
                          <a:solidFill>
                            <a:schemeClr val="tx2"/>
                          </a:solidFill>
                        </a:rPr>
                        <a:t> = 0.00</a:t>
                      </a:r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 %</a:t>
                      </a:r>
                      <a:endParaRPr lang="en-US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100" b="1" dirty="0" smtClean="0">
                          <a:latin typeface="Calibri Light" pitchFamily="34" charset="0"/>
                        </a:rPr>
                        <a:t>35/35 = 100 %</a:t>
                      </a:r>
                      <a:endParaRPr lang="en-ZA" sz="1100" b="1" dirty="0"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0/0</a:t>
                      </a:r>
                      <a:r>
                        <a:rPr lang="en-US" sz="1100" b="1" baseline="0" dirty="0" smtClean="0">
                          <a:solidFill>
                            <a:schemeClr val="tx2"/>
                          </a:solidFill>
                        </a:rPr>
                        <a:t> = 0.00</a:t>
                      </a:r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 %</a:t>
                      </a:r>
                      <a:endParaRPr lang="en-US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100" b="1" dirty="0" smtClean="0">
                          <a:latin typeface="Calibri Light" pitchFamily="34" charset="0"/>
                        </a:rPr>
                        <a:t>0 / 0 = 100 %</a:t>
                      </a:r>
                      <a:endParaRPr lang="en-ZA" sz="1100" b="1" dirty="0"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0/0</a:t>
                      </a:r>
                      <a:r>
                        <a:rPr lang="en-US" sz="1100" b="1" baseline="0" dirty="0" smtClean="0">
                          <a:solidFill>
                            <a:schemeClr val="tx2"/>
                          </a:solidFill>
                        </a:rPr>
                        <a:t> = 0.00</a:t>
                      </a:r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 %</a:t>
                      </a:r>
                      <a:endParaRPr lang="en-US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 Light" pitchFamily="34" charset="0"/>
                        </a:rPr>
                        <a:t>36/36 = 100 %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509537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PMBurg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0/0</a:t>
                      </a:r>
                      <a:r>
                        <a:rPr lang="en-US" sz="1100" b="1" baseline="0" dirty="0" smtClean="0">
                          <a:solidFill>
                            <a:schemeClr val="tx2"/>
                          </a:solidFill>
                        </a:rPr>
                        <a:t> = 0.00</a:t>
                      </a:r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 %</a:t>
                      </a:r>
                      <a:endParaRPr lang="en-US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55/55 = 100 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0/0</a:t>
                      </a:r>
                      <a:r>
                        <a:rPr lang="en-US" sz="1100" b="1" baseline="0" dirty="0" smtClean="0">
                          <a:solidFill>
                            <a:schemeClr val="tx2"/>
                          </a:solidFill>
                        </a:rPr>
                        <a:t> = 0.00</a:t>
                      </a:r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 %</a:t>
                      </a:r>
                      <a:endParaRPr lang="en-US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100" b="1" dirty="0" smtClean="0">
                          <a:latin typeface="Calibri Light" pitchFamily="34" charset="0"/>
                        </a:rPr>
                        <a:t>39/180 = 21.67 %</a:t>
                      </a:r>
                      <a:endParaRPr lang="en-ZA" sz="1100" b="1" dirty="0"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0/0</a:t>
                      </a:r>
                      <a:r>
                        <a:rPr lang="en-US" sz="1100" b="1" baseline="0" dirty="0" smtClean="0">
                          <a:solidFill>
                            <a:schemeClr val="tx2"/>
                          </a:solidFill>
                        </a:rPr>
                        <a:t> = 0.00</a:t>
                      </a:r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 %</a:t>
                      </a:r>
                      <a:endParaRPr lang="en-US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100" b="1" dirty="0" smtClean="0">
                          <a:latin typeface="Calibri Light" pitchFamily="34" charset="0"/>
                        </a:rPr>
                        <a:t>1 /</a:t>
                      </a:r>
                      <a:r>
                        <a:rPr lang="en-ZA" sz="1100" b="1" baseline="0" dirty="0" smtClean="0">
                          <a:latin typeface="Calibri Light" pitchFamily="34" charset="0"/>
                        </a:rPr>
                        <a:t> 1 = 100 %</a:t>
                      </a:r>
                      <a:endParaRPr lang="en-ZA" sz="1100" b="1" dirty="0"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0/0</a:t>
                      </a:r>
                      <a:r>
                        <a:rPr lang="en-US" sz="1100" b="1" baseline="0" dirty="0" smtClean="0">
                          <a:solidFill>
                            <a:schemeClr val="tx2"/>
                          </a:solidFill>
                        </a:rPr>
                        <a:t> = 0.00</a:t>
                      </a:r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 %</a:t>
                      </a:r>
                      <a:endParaRPr lang="en-US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 Light" pitchFamily="34" charset="0"/>
                        </a:rPr>
                        <a:t>95/236 = 40.25 %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509537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Waterval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0/0</a:t>
                      </a:r>
                      <a:r>
                        <a:rPr lang="en-US" sz="1100" b="1" baseline="0" dirty="0" smtClean="0">
                          <a:solidFill>
                            <a:schemeClr val="tx2"/>
                          </a:solidFill>
                        </a:rPr>
                        <a:t> = 0.00</a:t>
                      </a:r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 %</a:t>
                      </a:r>
                      <a:endParaRPr lang="en-US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0/0 0.00 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0/0</a:t>
                      </a:r>
                      <a:r>
                        <a:rPr lang="en-US" sz="1100" b="1" baseline="0" dirty="0" smtClean="0">
                          <a:solidFill>
                            <a:schemeClr val="tx2"/>
                          </a:solidFill>
                        </a:rPr>
                        <a:t> = 0.00</a:t>
                      </a:r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 %</a:t>
                      </a:r>
                      <a:endParaRPr lang="en-US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100" b="1" dirty="0" smtClean="0">
                          <a:latin typeface="Calibri Light" pitchFamily="34" charset="0"/>
                        </a:rPr>
                        <a:t>5 / 5  = 100 %</a:t>
                      </a:r>
                      <a:endParaRPr lang="en-ZA" sz="1100" b="1" dirty="0"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0/0</a:t>
                      </a:r>
                      <a:r>
                        <a:rPr lang="en-US" sz="1100" b="1" baseline="0" dirty="0" smtClean="0">
                          <a:solidFill>
                            <a:schemeClr val="tx2"/>
                          </a:solidFill>
                        </a:rPr>
                        <a:t> = 0.00</a:t>
                      </a:r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 %</a:t>
                      </a:r>
                      <a:endParaRPr lang="en-US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100" b="1" dirty="0" smtClean="0">
                          <a:latin typeface="Calibri Light" pitchFamily="34" charset="0"/>
                        </a:rPr>
                        <a:t>0 / 0 = 0.00 %</a:t>
                      </a:r>
                      <a:endParaRPr lang="en-ZA" sz="1100" b="1" dirty="0"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0/0</a:t>
                      </a:r>
                      <a:r>
                        <a:rPr lang="en-US" sz="1100" b="1" baseline="0" dirty="0" smtClean="0">
                          <a:solidFill>
                            <a:schemeClr val="tx2"/>
                          </a:solidFill>
                        </a:rPr>
                        <a:t> = 0.00</a:t>
                      </a:r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 %</a:t>
                      </a:r>
                      <a:endParaRPr lang="en-US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 Light" pitchFamily="34" charset="0"/>
                        </a:rPr>
                        <a:t>5/5 = 100 %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18168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577284" y="-5547915"/>
            <a:ext cx="1066800" cy="1216263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9369" y="1066800"/>
            <a:ext cx="110362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2. 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CORRECTIONAL CENTRE LEVEL </a:t>
            </a:r>
            <a:r>
              <a:rPr lang="en-GB" sz="1800" b="1" kern="0" dirty="0" smtClean="0"/>
              <a:t>MANAGEMENT </a:t>
            </a:r>
            <a:endParaRPr lang="en-GB" sz="1800" b="1" kern="0" dirty="0" smtClean="0"/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/>
              <a:t> </a:t>
            </a:r>
            <a:r>
              <a:rPr lang="en-GB" sz="1800" b="1" kern="0" dirty="0" smtClean="0"/>
              <a:t>         </a:t>
            </a:r>
            <a:r>
              <a:rPr lang="en-GB" sz="1800" b="1" kern="0" dirty="0" smtClean="0"/>
              <a:t>AREA </a:t>
            </a:r>
            <a:r>
              <a:rPr lang="en-GB" sz="1800" b="1" kern="0" dirty="0" smtClean="0"/>
              <a:t>TO POPULATE</a:t>
            </a:r>
            <a:endParaRPr lang="en-ZA" sz="1800" b="1" kern="0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9875282"/>
              </p:ext>
            </p:extLst>
          </p:nvPr>
        </p:nvGraphicFramePr>
        <p:xfrm>
          <a:off x="1" y="1713130"/>
          <a:ext cx="12191998" cy="6711123"/>
        </p:xfrm>
        <a:graphic>
          <a:graphicData uri="http://schemas.openxmlformats.org/drawingml/2006/table">
            <a:tbl>
              <a:tblPr firstRow="1" bandRow="1"/>
              <a:tblGrid>
                <a:gridCol w="1741714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</a:tblGrid>
              <a:tr h="706563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 2020/21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UARTER 2</a:t>
                      </a:r>
                      <a:b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S THAT CONTRIBUTED TOWARDS UNDER-ACHIEVEMENT 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ASONS FOR UNDER</a:t>
                      </a:r>
                    </a:p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OOT CAUSES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SSOCIATED RISKS 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1085507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0/0</a:t>
                      </a:r>
                      <a:r>
                        <a:rPr lang="en-US" sz="1100" b="1" baseline="0" dirty="0" smtClean="0">
                          <a:solidFill>
                            <a:schemeClr val="tx2"/>
                          </a:solidFill>
                        </a:rPr>
                        <a:t> = 0.00</a:t>
                      </a:r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 %</a:t>
                      </a:r>
                      <a:endParaRPr lang="en-US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20/141 = 85.11 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Durban</a:t>
                      </a:r>
                      <a:endParaRPr lang="en-ZA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Target for the quarter not met due to the</a:t>
                      </a:r>
                      <a:r>
                        <a:rPr lang="en-ZA" sz="1000" baseline="0" dirty="0" smtClean="0">
                          <a:solidFill>
                            <a:schemeClr val="tx1"/>
                          </a:solidFill>
                        </a:rPr>
                        <a:t> fact that identified inmates did not meet the set KZN DoH criteria for testing Covid -19 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Covid 19 Risk Adjusted Strategy Regulation</a:t>
                      </a:r>
                      <a:endParaRPr lang="en-ZA" sz="10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ZA" sz="1000" baseline="0" dirty="0" smtClean="0">
                          <a:solidFill>
                            <a:schemeClr val="tx1"/>
                          </a:solidFill>
                        </a:rPr>
                        <a:t>The surge of infection within Correctional facilities  causing more  complications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ZA" sz="1000" baseline="0" dirty="0" smtClean="0">
                          <a:solidFill>
                            <a:schemeClr val="tx1"/>
                          </a:solidFill>
                        </a:rPr>
                        <a:t> Human capital and  other  Resources will  be strained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ZA" sz="1000" baseline="0" dirty="0" smtClean="0">
                          <a:solidFill>
                            <a:schemeClr val="tx1"/>
                          </a:solidFill>
                        </a:rPr>
                        <a:t> Inadequate service  provision and service delivery.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ZA" sz="10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1146467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0/0</a:t>
                      </a:r>
                      <a:r>
                        <a:rPr lang="en-US" sz="1100" b="1" baseline="0" dirty="0" smtClean="0">
                          <a:solidFill>
                            <a:schemeClr val="tx2"/>
                          </a:solidFill>
                        </a:rPr>
                        <a:t> = 0.00</a:t>
                      </a:r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 %</a:t>
                      </a:r>
                      <a:endParaRPr lang="en-US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87/264 = 32.95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Empangeni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000" smtClean="0">
                          <a:solidFill>
                            <a:schemeClr val="tx1"/>
                          </a:solidFill>
                        </a:rPr>
                        <a:t>Target for the quarter not met due to the</a:t>
                      </a:r>
                      <a:r>
                        <a:rPr lang="en-ZA" sz="1000" baseline="0" smtClean="0">
                          <a:solidFill>
                            <a:schemeClr val="tx1"/>
                          </a:solidFill>
                        </a:rPr>
                        <a:t> fact that identified inmates did not meet the set KZN DoH criteria for testing Covid -19 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Covid 19 Risk Adjusted Strategy Regulation</a:t>
                      </a:r>
                      <a:endParaRPr lang="en-ZA" sz="10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ZA" sz="1000" baseline="0" smtClean="0">
                          <a:solidFill>
                            <a:schemeClr val="tx1"/>
                          </a:solidFill>
                        </a:rPr>
                        <a:t>The surge of infection within Correctional facilities  causing more  complications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ZA" sz="1000" baseline="0" smtClean="0">
                          <a:solidFill>
                            <a:schemeClr val="tx1"/>
                          </a:solidFill>
                        </a:rPr>
                        <a:t> Human capital and  other  Resources will  be strained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ZA" sz="1000" baseline="0" smtClean="0">
                          <a:solidFill>
                            <a:schemeClr val="tx1"/>
                          </a:solidFill>
                        </a:rPr>
                        <a:t> Inadequate service  provision and service delivery</a:t>
                      </a:r>
                      <a:endParaRPr lang="en-ZA" sz="10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1127760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0/0</a:t>
                      </a:r>
                      <a:r>
                        <a:rPr lang="en-US" sz="1100" b="1" baseline="0" dirty="0" smtClean="0">
                          <a:solidFill>
                            <a:schemeClr val="tx2"/>
                          </a:solidFill>
                        </a:rPr>
                        <a:t> = 0.00</a:t>
                      </a:r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 %</a:t>
                      </a:r>
                      <a:endParaRPr lang="en-US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45/45 = 100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Glencoe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000" smtClean="0">
                          <a:solidFill>
                            <a:schemeClr val="tx1"/>
                          </a:solidFill>
                        </a:rPr>
                        <a:t>Target for the quarter not met due to the</a:t>
                      </a:r>
                      <a:r>
                        <a:rPr lang="en-ZA" sz="1000" baseline="0" smtClean="0">
                          <a:solidFill>
                            <a:schemeClr val="tx1"/>
                          </a:solidFill>
                        </a:rPr>
                        <a:t> fact that identified inmates did not meet the set KZN DoH criteria for testing Covid -19 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Covid 19 Risk Adjusted Strategy Regulation</a:t>
                      </a:r>
                      <a:endParaRPr lang="en-ZA" sz="10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ZA" sz="1000" baseline="0" smtClean="0">
                          <a:solidFill>
                            <a:schemeClr val="tx1"/>
                          </a:solidFill>
                        </a:rPr>
                        <a:t>The surge of infection within Correctional facilities  causing more  complications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ZA" sz="1000" baseline="0" smtClean="0">
                          <a:solidFill>
                            <a:schemeClr val="tx1"/>
                          </a:solidFill>
                        </a:rPr>
                        <a:t> Human capital and  other  Resources will  be strained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ZA" sz="1000" baseline="0" smtClean="0">
                          <a:solidFill>
                            <a:schemeClr val="tx1"/>
                          </a:solidFill>
                        </a:rPr>
                        <a:t> Inadequate service  provision and service delivery</a:t>
                      </a:r>
                      <a:endParaRPr lang="en-ZA" sz="10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1252248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0/0</a:t>
                      </a:r>
                      <a:r>
                        <a:rPr lang="en-US" sz="1100" b="1" baseline="0" dirty="0" smtClean="0">
                          <a:solidFill>
                            <a:schemeClr val="tx2"/>
                          </a:solidFill>
                        </a:rPr>
                        <a:t> = 0.00</a:t>
                      </a:r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 %</a:t>
                      </a:r>
                      <a:endParaRPr lang="en-US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2/22 = 100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Kokstad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Target for the quarter not met due to the</a:t>
                      </a:r>
                      <a:r>
                        <a:rPr lang="en-ZA" sz="1000" baseline="0" dirty="0" smtClean="0">
                          <a:solidFill>
                            <a:schemeClr val="tx1"/>
                          </a:solidFill>
                        </a:rPr>
                        <a:t> fact that identified inmates did not meet the set KZN DoH criteria for testing Covid -19 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Covid 19 Risk Adjusted Strategy Regulation</a:t>
                      </a:r>
                      <a:endParaRPr lang="en-ZA" sz="10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ZA" sz="1000" baseline="0" dirty="0" smtClean="0">
                          <a:solidFill>
                            <a:schemeClr val="tx1"/>
                          </a:solidFill>
                        </a:rPr>
                        <a:t>The surge of infection within Correctional facilities  causing more  complications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ZA" sz="1000" baseline="0" dirty="0" smtClean="0">
                          <a:solidFill>
                            <a:schemeClr val="tx1"/>
                          </a:solidFill>
                        </a:rPr>
                        <a:t> Human capital and  other  Resources will  be strained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ZA" sz="1000" baseline="0" dirty="0" smtClean="0">
                          <a:solidFill>
                            <a:schemeClr val="tx1"/>
                          </a:solidFill>
                        </a:rPr>
                        <a:t> Inadequate service  provision and service delivery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>
              <a:spcAft>
                <a:spcPts val="600"/>
              </a:spcAft>
            </a:pPr>
            <a:r>
              <a:rPr lang="en-ZA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centage of identified inmates who have tested for Corona virus Disease (Covid – 19) </a:t>
            </a:r>
            <a:endParaRPr lang="en-ZA" kern="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0554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384334" y="-5367665"/>
            <a:ext cx="1440000" cy="1217533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9369" y="1440000"/>
            <a:ext cx="121626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2. 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CORRECTIONAL CENTRE LEVEL </a:t>
            </a:r>
            <a:r>
              <a:rPr lang="en-GB" sz="1800" b="1" kern="0" dirty="0" smtClean="0"/>
              <a:t>MANAGEMENT AREA TO </a:t>
            </a:r>
            <a:endParaRPr lang="en-GB" sz="1800" b="1" kern="0" dirty="0" smtClean="0"/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/>
              <a:t> </a:t>
            </a:r>
            <a:r>
              <a:rPr lang="en-GB" sz="1800" b="1" kern="0" dirty="0" smtClean="0"/>
              <a:t>         </a:t>
            </a:r>
            <a:r>
              <a:rPr lang="en-GB" sz="1800" b="1" kern="0" dirty="0" smtClean="0"/>
              <a:t>POPULATE</a:t>
            </a:r>
            <a:endParaRPr lang="en-ZA" sz="1800" b="1" kern="0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8318448"/>
              </p:ext>
            </p:extLst>
          </p:nvPr>
        </p:nvGraphicFramePr>
        <p:xfrm>
          <a:off x="1" y="2086330"/>
          <a:ext cx="12191998" cy="5090317"/>
        </p:xfrm>
        <a:graphic>
          <a:graphicData uri="http://schemas.openxmlformats.org/drawingml/2006/table">
            <a:tbl>
              <a:tblPr firstRow="1" bandRow="1"/>
              <a:tblGrid>
                <a:gridCol w="1741714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</a:tblGrid>
              <a:tr h="701197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 2020/21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UARTER 2</a:t>
                      </a:r>
                      <a:b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S THAT CONTRIBUTED TOWARDS UNDER-ACHIEVEMENT 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ASONS FOR UNDER</a:t>
                      </a:r>
                    </a:p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OOT CAUSES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SSOCIATED RISKS 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1432599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0/0</a:t>
                      </a:r>
                      <a:r>
                        <a:rPr lang="en-US" sz="1100" b="1" baseline="0" dirty="0" smtClean="0">
                          <a:solidFill>
                            <a:schemeClr val="tx2"/>
                          </a:solidFill>
                        </a:rPr>
                        <a:t> = 0.00</a:t>
                      </a:r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 %</a:t>
                      </a:r>
                      <a:endParaRPr lang="en-US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 Light" pitchFamily="34" charset="0"/>
                        </a:rPr>
                        <a:t>36/36 = 100 %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100" b="1" dirty="0" smtClean="0">
                          <a:solidFill>
                            <a:schemeClr val="tx1"/>
                          </a:solidFill>
                        </a:rPr>
                        <a:t>Ncome</a:t>
                      </a:r>
                      <a:endParaRPr lang="en-ZA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000" smtClean="0">
                          <a:solidFill>
                            <a:schemeClr val="tx1"/>
                          </a:solidFill>
                        </a:rPr>
                        <a:t>Target for the quarter not met due to the</a:t>
                      </a:r>
                      <a:r>
                        <a:rPr lang="en-ZA" sz="1000" baseline="0" smtClean="0">
                          <a:solidFill>
                            <a:schemeClr val="tx1"/>
                          </a:solidFill>
                        </a:rPr>
                        <a:t> fact that identified inmates did not meet the set KZN DoH criteria for testing Covid -19 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Covid 19 Risk Adjusted Strategy Regulation</a:t>
                      </a:r>
                      <a:endParaRPr lang="en-ZA" sz="10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ZA" sz="1000" baseline="0" smtClean="0">
                          <a:solidFill>
                            <a:schemeClr val="tx1"/>
                          </a:solidFill>
                        </a:rPr>
                        <a:t>The surge of infection within Correctional facilities  causing more  complications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ZA" sz="1000" baseline="0" smtClean="0">
                          <a:solidFill>
                            <a:schemeClr val="tx1"/>
                          </a:solidFill>
                        </a:rPr>
                        <a:t> Human capital and  other  Resources will  be strained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ZA" sz="1000" baseline="0" smtClean="0">
                          <a:solidFill>
                            <a:schemeClr val="tx1"/>
                          </a:solidFill>
                        </a:rPr>
                        <a:t> Inadequate service  provision and service delivery</a:t>
                      </a:r>
                      <a:endParaRPr lang="en-ZA" sz="10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1242737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0/0</a:t>
                      </a:r>
                      <a:r>
                        <a:rPr lang="en-US" sz="1100" b="1" baseline="0" dirty="0" smtClean="0">
                          <a:solidFill>
                            <a:schemeClr val="tx2"/>
                          </a:solidFill>
                        </a:rPr>
                        <a:t> = 0.00</a:t>
                      </a:r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 %</a:t>
                      </a:r>
                      <a:endParaRPr lang="en-US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 Light" pitchFamily="34" charset="0"/>
                        </a:rPr>
                        <a:t>95/236 = 40.25 %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PMBurg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000" smtClean="0">
                          <a:solidFill>
                            <a:schemeClr val="tx1"/>
                          </a:solidFill>
                        </a:rPr>
                        <a:t>Target for the quarter not met due to the</a:t>
                      </a:r>
                      <a:r>
                        <a:rPr lang="en-ZA" sz="1000" baseline="0" smtClean="0">
                          <a:solidFill>
                            <a:schemeClr val="tx1"/>
                          </a:solidFill>
                        </a:rPr>
                        <a:t> fact that identified inmates did not meet the set KZN DoH criteria for testing Covid -19 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Covid 19 Risk Adjusted Strategy Regulation</a:t>
                      </a:r>
                      <a:endParaRPr lang="en-ZA" sz="10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ZA" sz="1000" baseline="0" smtClean="0">
                          <a:solidFill>
                            <a:schemeClr val="tx1"/>
                          </a:solidFill>
                        </a:rPr>
                        <a:t>The surge of infection within Correctional facilities  causing more  complications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ZA" sz="1000" baseline="0" smtClean="0">
                          <a:solidFill>
                            <a:schemeClr val="tx1"/>
                          </a:solidFill>
                        </a:rPr>
                        <a:t> Human capital and  other  Resources will  be strained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ZA" sz="1000" baseline="0" smtClean="0">
                          <a:solidFill>
                            <a:schemeClr val="tx1"/>
                          </a:solidFill>
                        </a:rPr>
                        <a:t> Inadequate service  provision and service delivery</a:t>
                      </a:r>
                      <a:endParaRPr lang="en-ZA" sz="10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1242737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0/0</a:t>
                      </a:r>
                      <a:r>
                        <a:rPr lang="en-US" sz="1100" b="1" baseline="0" dirty="0" smtClean="0">
                          <a:solidFill>
                            <a:schemeClr val="tx2"/>
                          </a:solidFill>
                        </a:rPr>
                        <a:t> = 0.00</a:t>
                      </a:r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 %</a:t>
                      </a:r>
                      <a:endParaRPr lang="en-US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 Light" pitchFamily="34" charset="0"/>
                        </a:rPr>
                        <a:t>5/5 = 100 %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 Light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Waterval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Target for the quarter not met due to the</a:t>
                      </a:r>
                      <a:r>
                        <a:rPr lang="en-ZA" sz="1000" baseline="0" dirty="0" smtClean="0">
                          <a:solidFill>
                            <a:schemeClr val="tx1"/>
                          </a:solidFill>
                        </a:rPr>
                        <a:t> fact that identified inmates did not meet the set KZN DoH criteria for testing Covid -19 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Covid 19 Risk Adjusted Strategy Regulation</a:t>
                      </a:r>
                      <a:endParaRPr lang="en-ZA" sz="10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ZA" sz="1000" baseline="0" dirty="0" smtClean="0">
                          <a:solidFill>
                            <a:schemeClr val="tx1"/>
                          </a:solidFill>
                        </a:rPr>
                        <a:t>The surge of infection within Correctional facilities  causing more  complications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ZA" sz="1000" baseline="0" dirty="0" smtClean="0">
                          <a:solidFill>
                            <a:schemeClr val="tx1"/>
                          </a:solidFill>
                        </a:rPr>
                        <a:t> Human capital and  other  Resources will  be strained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ZA" sz="1000" baseline="0" dirty="0" smtClean="0">
                          <a:solidFill>
                            <a:schemeClr val="tx1"/>
                          </a:solidFill>
                        </a:rPr>
                        <a:t> Inadequate service  provision and service delivery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>
              <a:spcAft>
                <a:spcPts val="600"/>
              </a:spcAft>
            </a:pPr>
            <a:r>
              <a:rPr lang="en-ZA" sz="2400" dirty="0" smtClean="0">
                <a:solidFill>
                  <a:schemeClr val="accent3"/>
                </a:solidFill>
                <a:latin typeface="Arial Black" pitchFamily="34" charset="0"/>
              </a:rPr>
              <a:t>Percentage of identified inmates who have tested for Corona virus Disease 2019 (COVID-19)</a:t>
            </a:r>
            <a:endParaRPr lang="en-ZA" sz="2400" kern="0" dirty="0" smtClean="0">
              <a:solidFill>
                <a:schemeClr val="accent3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0554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231935" y="-5215267"/>
            <a:ext cx="1440000" cy="11870533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9368" y="1440000"/>
            <a:ext cx="118578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</a:t>
            </a:r>
            <a:r>
              <a:rPr lang="en-GB" sz="1800" b="1" kern="0" dirty="0" smtClean="0">
                <a:solidFill>
                  <a:prstClr val="black"/>
                </a:solidFill>
              </a:rPr>
              <a:t>4. PROJECT PLAN TO ADDRESS UNDER PERFORMANCE </a:t>
            </a:r>
            <a:r>
              <a:rPr lang="en-GB" sz="1800" b="1" kern="0" dirty="0" smtClean="0"/>
              <a:t>MANAGEMENT AREA TO POPULATE</a:t>
            </a:r>
            <a:endParaRPr lang="en-ZA" sz="1800" b="1" kern="0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047451"/>
              </p:ext>
            </p:extLst>
          </p:nvPr>
        </p:nvGraphicFramePr>
        <p:xfrm>
          <a:off x="2" y="1809333"/>
          <a:ext cx="11887200" cy="5660722"/>
        </p:xfrm>
        <a:graphic>
          <a:graphicData uri="http://schemas.openxmlformats.org/drawingml/2006/table">
            <a:tbl>
              <a:tblPr firstRow="1" bandRow="1"/>
              <a:tblGrid>
                <a:gridCol w="1981200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9812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9812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981200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981200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981200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</a:tblGrid>
              <a:tr h="601042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CTIVITY / ACTIVITIES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SPONSIBILITY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IME FRAM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ROGRESS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1060722">
                <a:tc>
                  <a:txBody>
                    <a:bodyPr/>
                    <a:lstStyle/>
                    <a:p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Durban</a:t>
                      </a:r>
                      <a:endParaRPr lang="en-ZA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</a:p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Continue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to conduct awareness raising sessions for inmates and to identify suspected inmates for testing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rea Commissioner and Area Coordinator Dev &amp; Care,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and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Head of Centre 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October 2020 and ongoing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Awareness raising is continued, inmates are identified and tested in line with the DoH Covid -19 protocols and the departmental Strategic Plan for  Covid - 19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1053499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Empangeni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Continue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to conduct awareness raising sessions for inmates and to identify suspected inmates for testing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rea Commissioner and Area Coordinator Dev &amp; Care,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and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Head of Centre 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October 2020 and ongoing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Awareness raising is continued, inmates are identified and tested in line with the DoH Covid -19 protocols and the departmental Strategic Plan for  Covid - 19</a:t>
                      </a:r>
                      <a:endParaRPr lang="en-ZA" sz="11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1053499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Glencoe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Continue</a:t>
                      </a:r>
                      <a:r>
                        <a:rPr lang="en-US" sz="1100" baseline="0" smtClean="0">
                          <a:solidFill>
                            <a:schemeClr val="tx1"/>
                          </a:solidFill>
                        </a:rPr>
                        <a:t> to conduct awareness raising sessions for inmates and to identify suspected inmates for testing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Area Commissioner and Area Coordinator Dev &amp; Care,</a:t>
                      </a:r>
                      <a:r>
                        <a:rPr lang="en-US" sz="1100" baseline="0" smtClean="0">
                          <a:solidFill>
                            <a:schemeClr val="tx1"/>
                          </a:solidFill>
                        </a:rPr>
                        <a:t> and </a:t>
                      </a:r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Head of Centre 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October 2020 and ongoing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Awareness raising is continued, inmates are identified and tested in line with the DoH Covid -19 protocols and the departmental Strategic Plan for  Covid - 19</a:t>
                      </a:r>
                      <a:endParaRPr lang="en-ZA" sz="11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1127506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Kokstad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Continue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to conduct awareness raising sessions for inmates and to identify suspected inmates for testing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rea Commissioner and Area Coordinator Dev &amp; Care,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and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Head of Centre 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October 2020 and ongoing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Awareness raising is continued, inmates are identified and tested in line with the DoH Covid -19 protocols and the departmental Strategic Plan for  Covid - 19</a:t>
                      </a:r>
                      <a:endParaRPr lang="en-ZA" sz="11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PLAN TO ADDRESS UNDER PERFORMANCE:</a:t>
            </a:r>
          </a:p>
          <a:p>
            <a:pPr>
              <a:spcAft>
                <a:spcPts val="600"/>
              </a:spcAft>
            </a:pPr>
            <a:r>
              <a:rPr lang="en-ZA" sz="2400" dirty="0" smtClean="0">
                <a:solidFill>
                  <a:schemeClr val="accent3"/>
                </a:solidFill>
                <a:latin typeface="Arial Black" pitchFamily="34" charset="0"/>
              </a:rPr>
              <a:t>Percentage of identified inmates who have tested for Corona virus Disease 2019 (COVID-19)</a:t>
            </a:r>
            <a:endParaRPr lang="en-ZA" sz="2400" kern="0" dirty="0" smtClean="0">
              <a:solidFill>
                <a:schemeClr val="accent3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8957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223602" y="-5166826"/>
            <a:ext cx="1440000" cy="11887203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9372" y="1440000"/>
            <a:ext cx="117054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</a:t>
            </a:r>
            <a:r>
              <a:rPr lang="en-GB" sz="1800" b="1" kern="0" dirty="0" smtClean="0">
                <a:solidFill>
                  <a:prstClr val="black"/>
                </a:solidFill>
              </a:rPr>
              <a:t>4. PROJECT PLAN TO ADDRESS UNDER PERFORMANCE </a:t>
            </a:r>
            <a:r>
              <a:rPr lang="en-GB" sz="1800" b="1" kern="0" dirty="0" smtClean="0"/>
              <a:t>MANAGEMENT AREA TO POPULATE</a:t>
            </a:r>
            <a:endParaRPr lang="en-ZA" sz="1800" b="1" kern="0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047451"/>
              </p:ext>
            </p:extLst>
          </p:nvPr>
        </p:nvGraphicFramePr>
        <p:xfrm>
          <a:off x="29372" y="2042928"/>
          <a:ext cx="11857830" cy="4529617"/>
        </p:xfrm>
        <a:graphic>
          <a:graphicData uri="http://schemas.openxmlformats.org/drawingml/2006/table">
            <a:tbl>
              <a:tblPr firstRow="1" bandRow="1"/>
              <a:tblGrid>
                <a:gridCol w="1976305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976305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976305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976305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976305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976305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</a:tblGrid>
              <a:tr h="734857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CTIVITY / ACTIVITIES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SPONSIBILITY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IME FRAM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ROGRESS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1080672">
                <a:tc>
                  <a:txBody>
                    <a:bodyPr/>
                    <a:lstStyle/>
                    <a:p>
                      <a:r>
                        <a:rPr lang="en-ZA" sz="1100" b="1" dirty="0" smtClean="0">
                          <a:solidFill>
                            <a:schemeClr val="tx1"/>
                          </a:solidFill>
                        </a:rPr>
                        <a:t>Ncome</a:t>
                      </a:r>
                      <a:endParaRPr lang="en-ZA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Continue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to conduct awareness raising sessions for inmates and to identify suspected inmates for testing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rea Commissioner and Area Coordinator Dev &amp; Care,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and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Head of Centre 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October 2020 and ongoing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smtClean="0">
                          <a:solidFill>
                            <a:schemeClr val="tx1"/>
                          </a:solidFill>
                        </a:rPr>
                        <a:t>Awareness raising is continued, inmates are identified and tested in line with the DoH Covid -19 protocols and the departmental Strategic Plan for  Covid - 19</a:t>
                      </a:r>
                      <a:endParaRPr lang="en-ZA" sz="11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1080672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PMBurg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Continue</a:t>
                      </a:r>
                      <a:r>
                        <a:rPr lang="en-US" sz="1100" baseline="0" smtClean="0">
                          <a:solidFill>
                            <a:schemeClr val="tx1"/>
                          </a:solidFill>
                        </a:rPr>
                        <a:t> to conduct awareness raising sessions for inmates and to identify suspected inmates for testing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Area Commissioner and Area Coordinator Dev &amp; Care,</a:t>
                      </a:r>
                      <a:r>
                        <a:rPr lang="en-US" sz="1100" baseline="0" smtClean="0">
                          <a:solidFill>
                            <a:schemeClr val="tx1"/>
                          </a:solidFill>
                        </a:rPr>
                        <a:t> and </a:t>
                      </a:r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Head of Centre 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October 2020 and ongoing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smtClean="0">
                          <a:solidFill>
                            <a:schemeClr val="tx1"/>
                          </a:solidFill>
                        </a:rPr>
                        <a:t>Awareness raising is continued, inmates are identified and tested in line with the DoH Covid -19 protocols and the departmental Strategic Plan for  Covid - 19</a:t>
                      </a:r>
                      <a:endParaRPr lang="en-ZA" sz="11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1080672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Waterval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Continue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to conduct awareness raising sessions for inmates and to identify suspected inmates for testing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rea Commissioner and Area Coordinator Dev &amp; Care,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and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Head of Centre 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October 2020 and ongoing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Awareness raising is continued, inmates are identified and tested in line with the DoH Covid -19 protocols and the departmental Strategic Plan for  Covid - 19</a:t>
                      </a:r>
                      <a:endParaRPr lang="en-ZA" sz="11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PLAN TO ADDRESS UNDER PERFORMANCE:</a:t>
            </a:r>
          </a:p>
          <a:p>
            <a:pPr>
              <a:spcAft>
                <a:spcPts val="600"/>
              </a:spcAft>
            </a:pPr>
            <a:r>
              <a:rPr lang="en-ZA" dirty="0" smtClean="0">
                <a:solidFill>
                  <a:schemeClr val="accent3"/>
                </a:solidFill>
                <a:latin typeface="Arial Black" pitchFamily="34" charset="0"/>
              </a:rPr>
              <a:t>Percentage of identified inmates who have tested for Corona virus Disease 2019 (COVID-19)</a:t>
            </a:r>
            <a:endParaRPr lang="en-ZA" kern="0" dirty="0" smtClean="0">
              <a:solidFill>
                <a:schemeClr val="accent3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8957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trellis">
          <a:fgClr>
            <a:srgbClr val="FFFFFF"/>
          </a:fgClr>
          <a:bgClr>
            <a:srgbClr val="BCEABC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65498" y="-21773"/>
            <a:ext cx="8392701" cy="6270173"/>
            <a:chOff x="65499" y="-21773"/>
            <a:chExt cx="7302314" cy="5185651"/>
          </a:xfrm>
        </p:grpSpPr>
        <p:sp>
          <p:nvSpPr>
            <p:cNvPr id="3" name="Rectangle: Top Corners Rounded 24">
              <a:extLst>
                <a:ext uri="{FF2B5EF4-FFF2-40B4-BE49-F238E27FC236}">
                  <a16:creationId xmlns="" xmlns:a16="http://schemas.microsoft.com/office/drawing/2014/main" id="{0DC4C310-37AB-43E0-9D8B-683A5AE91EB8}"/>
                </a:ext>
              </a:extLst>
            </p:cNvPr>
            <p:cNvSpPr/>
            <p:nvPr/>
          </p:nvSpPr>
          <p:spPr>
            <a:xfrm rot="10800000">
              <a:off x="575313" y="-10887"/>
              <a:ext cx="6282685" cy="5174765"/>
            </a:xfrm>
            <a:prstGeom prst="round2SameRect">
              <a:avLst>
                <a:gd name="adj1" fmla="val 13687"/>
                <a:gd name="adj2" fmla="val 0"/>
              </a:avLst>
            </a:prstGeom>
            <a:gradFill flip="none" rotWithShape="1">
              <a:gsLst>
                <a:gs pos="99000">
                  <a:srgbClr val="00CC99"/>
                </a:gs>
                <a:gs pos="1000">
                  <a:srgbClr val="009900"/>
                </a:gs>
              </a:gsLst>
              <a:lin ang="162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5" name="Isosceles Triangle 3"/>
            <p:cNvSpPr/>
            <p:nvPr/>
          </p:nvSpPr>
          <p:spPr bwMode="auto">
            <a:xfrm>
              <a:off x="6847113" y="-21773"/>
              <a:ext cx="520700" cy="1270000"/>
            </a:xfrm>
            <a:custGeom>
              <a:avLst/>
              <a:gdLst>
                <a:gd name="connsiteX0" fmla="*/ 0 w 431800"/>
                <a:gd name="connsiteY0" fmla="*/ 1143000 h 1143000"/>
                <a:gd name="connsiteX1" fmla="*/ 215900 w 431800"/>
                <a:gd name="connsiteY1" fmla="*/ 0 h 1143000"/>
                <a:gd name="connsiteX2" fmla="*/ 431800 w 431800"/>
                <a:gd name="connsiteY2" fmla="*/ 1143000 h 1143000"/>
                <a:gd name="connsiteX3" fmla="*/ 0 w 431800"/>
                <a:gd name="connsiteY3" fmla="*/ 1143000 h 1143000"/>
                <a:gd name="connsiteX0" fmla="*/ 0 w 647700"/>
                <a:gd name="connsiteY0" fmla="*/ 1117600 h 1117600"/>
                <a:gd name="connsiteX1" fmla="*/ 647700 w 647700"/>
                <a:gd name="connsiteY1" fmla="*/ 0 h 1117600"/>
                <a:gd name="connsiteX2" fmla="*/ 431800 w 647700"/>
                <a:gd name="connsiteY2" fmla="*/ 1117600 h 1117600"/>
                <a:gd name="connsiteX3" fmla="*/ 0 w 647700"/>
                <a:gd name="connsiteY3" fmla="*/ 1117600 h 1117600"/>
                <a:gd name="connsiteX0" fmla="*/ 0 w 647700"/>
                <a:gd name="connsiteY0" fmla="*/ 1117600 h 1244600"/>
                <a:gd name="connsiteX1" fmla="*/ 647700 w 647700"/>
                <a:gd name="connsiteY1" fmla="*/ 0 h 1244600"/>
                <a:gd name="connsiteX2" fmla="*/ 558800 w 647700"/>
                <a:gd name="connsiteY2" fmla="*/ 1244600 h 1244600"/>
                <a:gd name="connsiteX3" fmla="*/ 0 w 647700"/>
                <a:gd name="connsiteY3" fmla="*/ 1117600 h 1244600"/>
                <a:gd name="connsiteX0" fmla="*/ 0 w 647700"/>
                <a:gd name="connsiteY0" fmla="*/ 1270000 h 1397000"/>
                <a:gd name="connsiteX1" fmla="*/ 647700 w 647700"/>
                <a:gd name="connsiteY1" fmla="*/ 0 h 1397000"/>
                <a:gd name="connsiteX2" fmla="*/ 558800 w 647700"/>
                <a:gd name="connsiteY2" fmla="*/ 1397000 h 1397000"/>
                <a:gd name="connsiteX3" fmla="*/ 0 w 647700"/>
                <a:gd name="connsiteY3" fmla="*/ 1270000 h 1397000"/>
                <a:gd name="connsiteX0" fmla="*/ 0 w 469900"/>
                <a:gd name="connsiteY0" fmla="*/ 1701800 h 1701800"/>
                <a:gd name="connsiteX1" fmla="*/ 469900 w 469900"/>
                <a:gd name="connsiteY1" fmla="*/ 0 h 1701800"/>
                <a:gd name="connsiteX2" fmla="*/ 381000 w 469900"/>
                <a:gd name="connsiteY2" fmla="*/ 1397000 h 1701800"/>
                <a:gd name="connsiteX3" fmla="*/ 0 w 469900"/>
                <a:gd name="connsiteY3" fmla="*/ 1701800 h 1701800"/>
                <a:gd name="connsiteX0" fmla="*/ 0 w 596900"/>
                <a:gd name="connsiteY0" fmla="*/ 1346200 h 1397000"/>
                <a:gd name="connsiteX1" fmla="*/ 596900 w 596900"/>
                <a:gd name="connsiteY1" fmla="*/ 0 h 1397000"/>
                <a:gd name="connsiteX2" fmla="*/ 508000 w 596900"/>
                <a:gd name="connsiteY2" fmla="*/ 1397000 h 1397000"/>
                <a:gd name="connsiteX3" fmla="*/ 0 w 596900"/>
                <a:gd name="connsiteY3" fmla="*/ 1346200 h 1397000"/>
                <a:gd name="connsiteX0" fmla="*/ 0 w 596900"/>
                <a:gd name="connsiteY0" fmla="*/ 1346200 h 1397000"/>
                <a:gd name="connsiteX1" fmla="*/ 596900 w 596900"/>
                <a:gd name="connsiteY1" fmla="*/ 0 h 1397000"/>
                <a:gd name="connsiteX2" fmla="*/ 584200 w 596900"/>
                <a:gd name="connsiteY2" fmla="*/ 1397000 h 1397000"/>
                <a:gd name="connsiteX3" fmla="*/ 0 w 596900"/>
                <a:gd name="connsiteY3" fmla="*/ 1346200 h 1397000"/>
                <a:gd name="connsiteX0" fmla="*/ 0 w 584200"/>
                <a:gd name="connsiteY0" fmla="*/ 1193800 h 1244600"/>
                <a:gd name="connsiteX1" fmla="*/ 495300 w 584200"/>
                <a:gd name="connsiteY1" fmla="*/ 0 h 1244600"/>
                <a:gd name="connsiteX2" fmla="*/ 584200 w 584200"/>
                <a:gd name="connsiteY2" fmla="*/ 1244600 h 1244600"/>
                <a:gd name="connsiteX3" fmla="*/ 0 w 584200"/>
                <a:gd name="connsiteY3" fmla="*/ 1193800 h 1244600"/>
                <a:gd name="connsiteX0" fmla="*/ 0 w 584200"/>
                <a:gd name="connsiteY0" fmla="*/ 1219200 h 1270000"/>
                <a:gd name="connsiteX1" fmla="*/ 571500 w 584200"/>
                <a:gd name="connsiteY1" fmla="*/ 0 h 1270000"/>
                <a:gd name="connsiteX2" fmla="*/ 584200 w 584200"/>
                <a:gd name="connsiteY2" fmla="*/ 1270000 h 1270000"/>
                <a:gd name="connsiteX3" fmla="*/ 0 w 584200"/>
                <a:gd name="connsiteY3" fmla="*/ 1219200 h 1270000"/>
                <a:gd name="connsiteX0" fmla="*/ 469900 w 469900"/>
                <a:gd name="connsiteY0" fmla="*/ 1193800 h 1270000"/>
                <a:gd name="connsiteX1" fmla="*/ 0 w 469900"/>
                <a:gd name="connsiteY1" fmla="*/ 0 h 1270000"/>
                <a:gd name="connsiteX2" fmla="*/ 12700 w 469900"/>
                <a:gd name="connsiteY2" fmla="*/ 1270000 h 1270000"/>
                <a:gd name="connsiteX3" fmla="*/ 469900 w 469900"/>
                <a:gd name="connsiteY3" fmla="*/ 1193800 h 1270000"/>
                <a:gd name="connsiteX0" fmla="*/ 469900 w 469900"/>
                <a:gd name="connsiteY0" fmla="*/ 1193800 h 1270000"/>
                <a:gd name="connsiteX1" fmla="*/ 0 w 469900"/>
                <a:gd name="connsiteY1" fmla="*/ 0 h 1270000"/>
                <a:gd name="connsiteX2" fmla="*/ 12700 w 469900"/>
                <a:gd name="connsiteY2" fmla="*/ 1270000 h 1270000"/>
                <a:gd name="connsiteX3" fmla="*/ 469900 w 469900"/>
                <a:gd name="connsiteY3" fmla="*/ 1193800 h 1270000"/>
                <a:gd name="connsiteX0" fmla="*/ 495300 w 495300"/>
                <a:gd name="connsiteY0" fmla="*/ 1193800 h 1270000"/>
                <a:gd name="connsiteX1" fmla="*/ 0 w 495300"/>
                <a:gd name="connsiteY1" fmla="*/ 0 h 1270000"/>
                <a:gd name="connsiteX2" fmla="*/ 12700 w 495300"/>
                <a:gd name="connsiteY2" fmla="*/ 1270000 h 1270000"/>
                <a:gd name="connsiteX3" fmla="*/ 495300 w 495300"/>
                <a:gd name="connsiteY3" fmla="*/ 1193800 h 1270000"/>
                <a:gd name="connsiteX0" fmla="*/ 520700 w 520700"/>
                <a:gd name="connsiteY0" fmla="*/ 1270000 h 1270000"/>
                <a:gd name="connsiteX1" fmla="*/ 0 w 520700"/>
                <a:gd name="connsiteY1" fmla="*/ 0 h 1270000"/>
                <a:gd name="connsiteX2" fmla="*/ 12700 w 520700"/>
                <a:gd name="connsiteY2" fmla="*/ 1270000 h 1270000"/>
                <a:gd name="connsiteX3" fmla="*/ 520700 w 520700"/>
                <a:gd name="connsiteY3" fmla="*/ 1270000 h 1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0700" h="1270000">
                  <a:moveTo>
                    <a:pt x="520700" y="1270000"/>
                  </a:moveTo>
                  <a:lnTo>
                    <a:pt x="0" y="0"/>
                  </a:lnTo>
                  <a:lnTo>
                    <a:pt x="12700" y="1270000"/>
                  </a:lnTo>
                  <a:lnTo>
                    <a:pt x="520700" y="1270000"/>
                  </a:lnTo>
                  <a:close/>
                </a:path>
              </a:pathLst>
            </a:custGeom>
            <a:solidFill>
              <a:srgbClr val="009900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n-ZA" smtClean="0">
                <a:solidFill>
                  <a:srgbClr val="000000"/>
                </a:solidFill>
              </a:endParaRPr>
            </a:p>
          </p:txBody>
        </p:sp>
        <p:sp>
          <p:nvSpPr>
            <p:cNvPr id="6" name="Isosceles Triangle 3"/>
            <p:cNvSpPr/>
            <p:nvPr/>
          </p:nvSpPr>
          <p:spPr bwMode="auto">
            <a:xfrm rot="10800000" flipV="1">
              <a:off x="65499" y="-10887"/>
              <a:ext cx="520700" cy="1270000"/>
            </a:xfrm>
            <a:custGeom>
              <a:avLst/>
              <a:gdLst>
                <a:gd name="connsiteX0" fmla="*/ 0 w 431800"/>
                <a:gd name="connsiteY0" fmla="*/ 1143000 h 1143000"/>
                <a:gd name="connsiteX1" fmla="*/ 215900 w 431800"/>
                <a:gd name="connsiteY1" fmla="*/ 0 h 1143000"/>
                <a:gd name="connsiteX2" fmla="*/ 431800 w 431800"/>
                <a:gd name="connsiteY2" fmla="*/ 1143000 h 1143000"/>
                <a:gd name="connsiteX3" fmla="*/ 0 w 431800"/>
                <a:gd name="connsiteY3" fmla="*/ 1143000 h 1143000"/>
                <a:gd name="connsiteX0" fmla="*/ 0 w 647700"/>
                <a:gd name="connsiteY0" fmla="*/ 1117600 h 1117600"/>
                <a:gd name="connsiteX1" fmla="*/ 647700 w 647700"/>
                <a:gd name="connsiteY1" fmla="*/ 0 h 1117600"/>
                <a:gd name="connsiteX2" fmla="*/ 431800 w 647700"/>
                <a:gd name="connsiteY2" fmla="*/ 1117600 h 1117600"/>
                <a:gd name="connsiteX3" fmla="*/ 0 w 647700"/>
                <a:gd name="connsiteY3" fmla="*/ 1117600 h 1117600"/>
                <a:gd name="connsiteX0" fmla="*/ 0 w 647700"/>
                <a:gd name="connsiteY0" fmla="*/ 1117600 h 1244600"/>
                <a:gd name="connsiteX1" fmla="*/ 647700 w 647700"/>
                <a:gd name="connsiteY1" fmla="*/ 0 h 1244600"/>
                <a:gd name="connsiteX2" fmla="*/ 558800 w 647700"/>
                <a:gd name="connsiteY2" fmla="*/ 1244600 h 1244600"/>
                <a:gd name="connsiteX3" fmla="*/ 0 w 647700"/>
                <a:gd name="connsiteY3" fmla="*/ 1117600 h 1244600"/>
                <a:gd name="connsiteX0" fmla="*/ 0 w 647700"/>
                <a:gd name="connsiteY0" fmla="*/ 1270000 h 1397000"/>
                <a:gd name="connsiteX1" fmla="*/ 647700 w 647700"/>
                <a:gd name="connsiteY1" fmla="*/ 0 h 1397000"/>
                <a:gd name="connsiteX2" fmla="*/ 558800 w 647700"/>
                <a:gd name="connsiteY2" fmla="*/ 1397000 h 1397000"/>
                <a:gd name="connsiteX3" fmla="*/ 0 w 647700"/>
                <a:gd name="connsiteY3" fmla="*/ 1270000 h 1397000"/>
                <a:gd name="connsiteX0" fmla="*/ 0 w 469900"/>
                <a:gd name="connsiteY0" fmla="*/ 1701800 h 1701800"/>
                <a:gd name="connsiteX1" fmla="*/ 469900 w 469900"/>
                <a:gd name="connsiteY1" fmla="*/ 0 h 1701800"/>
                <a:gd name="connsiteX2" fmla="*/ 381000 w 469900"/>
                <a:gd name="connsiteY2" fmla="*/ 1397000 h 1701800"/>
                <a:gd name="connsiteX3" fmla="*/ 0 w 469900"/>
                <a:gd name="connsiteY3" fmla="*/ 1701800 h 1701800"/>
                <a:gd name="connsiteX0" fmla="*/ 0 w 596900"/>
                <a:gd name="connsiteY0" fmla="*/ 1346200 h 1397000"/>
                <a:gd name="connsiteX1" fmla="*/ 596900 w 596900"/>
                <a:gd name="connsiteY1" fmla="*/ 0 h 1397000"/>
                <a:gd name="connsiteX2" fmla="*/ 508000 w 596900"/>
                <a:gd name="connsiteY2" fmla="*/ 1397000 h 1397000"/>
                <a:gd name="connsiteX3" fmla="*/ 0 w 596900"/>
                <a:gd name="connsiteY3" fmla="*/ 1346200 h 1397000"/>
                <a:gd name="connsiteX0" fmla="*/ 0 w 596900"/>
                <a:gd name="connsiteY0" fmla="*/ 1346200 h 1397000"/>
                <a:gd name="connsiteX1" fmla="*/ 596900 w 596900"/>
                <a:gd name="connsiteY1" fmla="*/ 0 h 1397000"/>
                <a:gd name="connsiteX2" fmla="*/ 584200 w 596900"/>
                <a:gd name="connsiteY2" fmla="*/ 1397000 h 1397000"/>
                <a:gd name="connsiteX3" fmla="*/ 0 w 596900"/>
                <a:gd name="connsiteY3" fmla="*/ 1346200 h 1397000"/>
                <a:gd name="connsiteX0" fmla="*/ 0 w 584200"/>
                <a:gd name="connsiteY0" fmla="*/ 1193800 h 1244600"/>
                <a:gd name="connsiteX1" fmla="*/ 495300 w 584200"/>
                <a:gd name="connsiteY1" fmla="*/ 0 h 1244600"/>
                <a:gd name="connsiteX2" fmla="*/ 584200 w 584200"/>
                <a:gd name="connsiteY2" fmla="*/ 1244600 h 1244600"/>
                <a:gd name="connsiteX3" fmla="*/ 0 w 584200"/>
                <a:gd name="connsiteY3" fmla="*/ 1193800 h 1244600"/>
                <a:gd name="connsiteX0" fmla="*/ 0 w 584200"/>
                <a:gd name="connsiteY0" fmla="*/ 1219200 h 1270000"/>
                <a:gd name="connsiteX1" fmla="*/ 571500 w 584200"/>
                <a:gd name="connsiteY1" fmla="*/ 0 h 1270000"/>
                <a:gd name="connsiteX2" fmla="*/ 584200 w 584200"/>
                <a:gd name="connsiteY2" fmla="*/ 1270000 h 1270000"/>
                <a:gd name="connsiteX3" fmla="*/ 0 w 584200"/>
                <a:gd name="connsiteY3" fmla="*/ 1219200 h 1270000"/>
                <a:gd name="connsiteX0" fmla="*/ 469900 w 469900"/>
                <a:gd name="connsiteY0" fmla="*/ 1193800 h 1270000"/>
                <a:gd name="connsiteX1" fmla="*/ 0 w 469900"/>
                <a:gd name="connsiteY1" fmla="*/ 0 h 1270000"/>
                <a:gd name="connsiteX2" fmla="*/ 12700 w 469900"/>
                <a:gd name="connsiteY2" fmla="*/ 1270000 h 1270000"/>
                <a:gd name="connsiteX3" fmla="*/ 469900 w 469900"/>
                <a:gd name="connsiteY3" fmla="*/ 1193800 h 1270000"/>
                <a:gd name="connsiteX0" fmla="*/ 469900 w 469900"/>
                <a:gd name="connsiteY0" fmla="*/ 1193800 h 1270000"/>
                <a:gd name="connsiteX1" fmla="*/ 0 w 469900"/>
                <a:gd name="connsiteY1" fmla="*/ 0 h 1270000"/>
                <a:gd name="connsiteX2" fmla="*/ 12700 w 469900"/>
                <a:gd name="connsiteY2" fmla="*/ 1270000 h 1270000"/>
                <a:gd name="connsiteX3" fmla="*/ 469900 w 469900"/>
                <a:gd name="connsiteY3" fmla="*/ 1193800 h 1270000"/>
                <a:gd name="connsiteX0" fmla="*/ 495300 w 495300"/>
                <a:gd name="connsiteY0" fmla="*/ 1193800 h 1270000"/>
                <a:gd name="connsiteX1" fmla="*/ 0 w 495300"/>
                <a:gd name="connsiteY1" fmla="*/ 0 h 1270000"/>
                <a:gd name="connsiteX2" fmla="*/ 12700 w 495300"/>
                <a:gd name="connsiteY2" fmla="*/ 1270000 h 1270000"/>
                <a:gd name="connsiteX3" fmla="*/ 495300 w 495300"/>
                <a:gd name="connsiteY3" fmla="*/ 1193800 h 1270000"/>
                <a:gd name="connsiteX0" fmla="*/ 520700 w 520700"/>
                <a:gd name="connsiteY0" fmla="*/ 1270000 h 1270000"/>
                <a:gd name="connsiteX1" fmla="*/ 0 w 520700"/>
                <a:gd name="connsiteY1" fmla="*/ 0 h 1270000"/>
                <a:gd name="connsiteX2" fmla="*/ 12700 w 520700"/>
                <a:gd name="connsiteY2" fmla="*/ 1270000 h 1270000"/>
                <a:gd name="connsiteX3" fmla="*/ 520700 w 520700"/>
                <a:gd name="connsiteY3" fmla="*/ 1270000 h 1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0700" h="1270000">
                  <a:moveTo>
                    <a:pt x="520700" y="1270000"/>
                  </a:moveTo>
                  <a:lnTo>
                    <a:pt x="0" y="0"/>
                  </a:lnTo>
                  <a:lnTo>
                    <a:pt x="12700" y="1270000"/>
                  </a:lnTo>
                  <a:lnTo>
                    <a:pt x="520700" y="1270000"/>
                  </a:lnTo>
                  <a:close/>
                </a:path>
              </a:pathLst>
            </a:custGeom>
            <a:solidFill>
              <a:srgbClr val="009900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n-ZA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651437" y="1088571"/>
            <a:ext cx="7097748" cy="49859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6600" dirty="0" smtClean="0">
                <a:solidFill>
                  <a:prstClr val="white"/>
                </a:solidFill>
                <a:latin typeface="Arial Black" panose="020B0A04020102020204" pitchFamily="34" charset="0"/>
              </a:rPr>
              <a:t>PROGRAMME 5</a:t>
            </a:r>
          </a:p>
          <a:p>
            <a:pPr algn="ctr"/>
            <a:endParaRPr lang="en-ZA" sz="6600" dirty="0">
              <a:solidFill>
                <a:prstClr val="white"/>
              </a:solidFill>
              <a:latin typeface="Arial Black" panose="020B0A04020102020204" pitchFamily="34" charset="0"/>
            </a:endParaRPr>
          </a:p>
          <a:p>
            <a:pPr algn="ctr"/>
            <a:r>
              <a:rPr lang="en-ZA" sz="6000" dirty="0" smtClean="0">
                <a:solidFill>
                  <a:prstClr val="white"/>
                </a:solidFill>
                <a:latin typeface="Arial Black" panose="020B0A04020102020204" pitchFamily="34" charset="0"/>
              </a:rPr>
              <a:t>SOCIAL REINTEGATION</a:t>
            </a:r>
            <a:endParaRPr lang="en-ZA" sz="6000" dirty="0">
              <a:solidFill>
                <a:prstClr val="white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2255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231935" y="-5215267"/>
            <a:ext cx="1440000" cy="11870533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3103" y="0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>
              <a:spcAft>
                <a:spcPts val="600"/>
              </a:spcAft>
            </a:pPr>
            <a:r>
              <a:rPr lang="en-ZA" sz="2400" kern="0" dirty="0">
                <a:solidFill>
                  <a:schemeClr val="bg1"/>
                </a:solidFill>
                <a:latin typeface="Arial Black" panose="020B0A04020102020204" pitchFamily="34" charset="0"/>
              </a:rPr>
              <a:t>'Percentage increase of victims participating in Restorative Justice Programm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24509" y="1416746"/>
            <a:ext cx="8928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1. REGIONAL TARGET VERSUS PERFORMANCE FOR </a:t>
            </a:r>
            <a:r>
              <a:rPr lang="en-GB" sz="1800" b="1" kern="0" dirty="0" smtClean="0"/>
              <a:t>2</a:t>
            </a:r>
            <a:r>
              <a:rPr lang="en-GB" sz="1800" b="1" kern="0" baseline="30000" dirty="0" smtClean="0"/>
              <a:t>nd</a:t>
            </a:r>
            <a:r>
              <a:rPr lang="en-GB" sz="1800" b="1" kern="0" dirty="0" smtClean="0">
                <a:solidFill>
                  <a:srgbClr val="FF0000"/>
                </a:solidFill>
              </a:rPr>
              <a:t> </a:t>
            </a:r>
            <a:r>
              <a:rPr lang="en-GB" sz="1800" b="1" kern="0" dirty="0" smtClean="0">
                <a:solidFill>
                  <a:prstClr val="black"/>
                </a:solidFill>
              </a:rPr>
              <a:t>QUARTER </a:t>
            </a:r>
            <a:r>
              <a:rPr lang="en-GB" sz="1800" b="1" kern="0" dirty="0">
                <a:solidFill>
                  <a:prstClr val="black"/>
                </a:solidFill>
              </a:rPr>
              <a:t>(2020/2021) 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28600" y="3048000"/>
            <a:ext cx="8915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2. 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MANAGEMENT AREA LEVEL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8328831"/>
              </p:ext>
            </p:extLst>
          </p:nvPr>
        </p:nvGraphicFramePr>
        <p:xfrm>
          <a:off x="228600" y="1808377"/>
          <a:ext cx="11658600" cy="1066800"/>
        </p:xfrm>
        <a:graphic>
          <a:graphicData uri="http://schemas.openxmlformats.org/drawingml/2006/table">
            <a:tbl>
              <a:tblPr firstRow="1" bandRow="1"/>
              <a:tblGrid>
                <a:gridCol w="1295400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72363429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971921"/>
                    </a:ext>
                  </a:extLst>
                </a:gridCol>
              </a:tblGrid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REGION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JULY</a:t>
                      </a:r>
                      <a:r>
                        <a:rPr lang="en-ZA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2020</a:t>
                      </a:r>
                      <a:br>
                        <a:rPr lang="en-ZA" sz="110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JULY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AUGUST</a:t>
                      </a:r>
                      <a:r>
                        <a:rPr lang="en-ZA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2020</a:t>
                      </a:r>
                      <a:br>
                        <a:rPr lang="en-ZA" sz="110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AUGUST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SEPTEMBER 2020 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SEPTEMBER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Q2 TARGET: 2020-2021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375654">
                <a:tc>
                  <a:txBody>
                    <a:bodyPr/>
                    <a:lstStyle/>
                    <a:p>
                      <a:r>
                        <a:rPr lang="en-ZA" dirty="0" smtClean="0">
                          <a:solidFill>
                            <a:schemeClr val="tx1"/>
                          </a:solidFill>
                        </a:rPr>
                        <a:t>Kwa</a:t>
                      </a:r>
                      <a:r>
                        <a:rPr lang="en-ZA" baseline="0" dirty="0" smtClean="0">
                          <a:solidFill>
                            <a:schemeClr val="tx1"/>
                          </a:solidFill>
                        </a:rPr>
                        <a:t> Zulu Natal</a:t>
                      </a:r>
                      <a:endParaRPr lang="en-ZA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98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0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98</a:t>
                      </a:r>
                    </a:p>
                    <a:p>
                      <a:pPr algn="ctr"/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5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98</a:t>
                      </a:r>
                    </a:p>
                    <a:p>
                      <a:pPr algn="ctr"/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49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7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(-1</a:t>
                      </a:r>
                      <a:r>
                        <a:rPr lang="en-US" sz="1100" b="1" baseline="0" dirty="0" smtClean="0">
                          <a:solidFill>
                            <a:schemeClr val="tx1"/>
                          </a:solidFill>
                        </a:rPr>
                        <a:t> 327/1 </a:t>
                      </a:r>
                      <a:r>
                        <a:rPr lang="en-US" sz="1100" b="1" baseline="0" dirty="0" smtClean="0">
                          <a:solidFill>
                            <a:schemeClr val="tx1"/>
                          </a:solidFill>
                        </a:rPr>
                        <a:t>621)=</a:t>
                      </a:r>
                    </a:p>
                    <a:p>
                      <a:pPr algn="ctr"/>
                      <a:r>
                        <a:rPr lang="en-US" sz="1100" b="1" baseline="0" dirty="0" smtClean="0">
                          <a:solidFill>
                            <a:schemeClr val="tx1"/>
                          </a:solidFill>
                        </a:rPr>
                        <a:t>-</a:t>
                      </a:r>
                      <a:r>
                        <a:rPr lang="en-US" sz="1100" b="1" baseline="0" dirty="0" smtClean="0">
                          <a:solidFill>
                            <a:schemeClr val="tx1"/>
                          </a:solidFill>
                        </a:rPr>
                        <a:t>81.86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7948739"/>
              </p:ext>
            </p:extLst>
          </p:nvPr>
        </p:nvGraphicFramePr>
        <p:xfrm>
          <a:off x="228600" y="3581400"/>
          <a:ext cx="11658600" cy="2616951"/>
        </p:xfrm>
        <a:graphic>
          <a:graphicData uri="http://schemas.openxmlformats.org/drawingml/2006/table">
            <a:tbl>
              <a:tblPr firstRow="1" bandRow="1"/>
              <a:tblGrid>
                <a:gridCol w="1295400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72363429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971921"/>
                    </a:ext>
                  </a:extLst>
                </a:gridCol>
              </a:tblGrid>
              <a:tr h="578803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JULY 2020</a:t>
                      </a:r>
                      <a:b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JULY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UGUST 2020</a:t>
                      </a:r>
                      <a:b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UGUST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SEPTEMBER 2020 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SEPTEMBER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: 2020-2021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509537">
                <a:tc>
                  <a:txBody>
                    <a:bodyPr/>
                    <a:lstStyle/>
                    <a:p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Durban</a:t>
                      </a:r>
                      <a:endParaRPr lang="en-ZA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55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55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55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7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330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8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509537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Empangeni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82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3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82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7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82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8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491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75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509537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Glencoe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0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0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0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20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509537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Kokstad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64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64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64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46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384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46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47543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207087" y="-5190418"/>
            <a:ext cx="1440000" cy="11820836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3103" y="0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>
              <a:spcAft>
                <a:spcPts val="600"/>
              </a:spcAft>
            </a:pPr>
            <a:r>
              <a:rPr lang="en-ZA" sz="2400" kern="0" dirty="0">
                <a:solidFill>
                  <a:schemeClr val="bg1"/>
                </a:solidFill>
                <a:latin typeface="Arial Black" panose="020B0A04020102020204" pitchFamily="34" charset="0"/>
              </a:rPr>
              <a:t>'Percentage increase of victims participating in Restorative Justice Programm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28600" y="1752600"/>
            <a:ext cx="8915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2. 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MANAGEMENT AREA LEVEL (CONT…)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5452979"/>
              </p:ext>
            </p:extLst>
          </p:nvPr>
        </p:nvGraphicFramePr>
        <p:xfrm>
          <a:off x="178905" y="2667000"/>
          <a:ext cx="11658600" cy="2107414"/>
        </p:xfrm>
        <a:graphic>
          <a:graphicData uri="http://schemas.openxmlformats.org/drawingml/2006/table">
            <a:tbl>
              <a:tblPr firstRow="1" bandRow="1"/>
              <a:tblGrid>
                <a:gridCol w="1295400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72363429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971921"/>
                    </a:ext>
                  </a:extLst>
                </a:gridCol>
              </a:tblGrid>
              <a:tr h="578803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JULY 2020</a:t>
                      </a:r>
                      <a:b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JULY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UGUST 2020</a:t>
                      </a:r>
                      <a:b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UGUST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SEPTEMBER 2020 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SEPTEMBER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: 2020-2021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509537">
                <a:tc>
                  <a:txBody>
                    <a:bodyPr/>
                    <a:lstStyle/>
                    <a:p>
                      <a:r>
                        <a:rPr lang="en-ZA" sz="1100" b="1" dirty="0" smtClean="0">
                          <a:solidFill>
                            <a:schemeClr val="tx1"/>
                          </a:solidFill>
                        </a:rPr>
                        <a:t>Ncome</a:t>
                      </a:r>
                      <a:endParaRPr lang="en-ZA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32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32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32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6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92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6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509537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PMBurg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3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7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3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7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3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04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38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25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509537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Waterval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2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2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2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7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32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7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18168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577284" y="-5547915"/>
            <a:ext cx="1066800" cy="1216263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9369" y="1066800"/>
            <a:ext cx="110362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2. 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CORRECTIONAL CENTRE LEVEL </a:t>
            </a:r>
            <a:r>
              <a:rPr lang="en-GB" sz="1800" b="1" kern="0" dirty="0" smtClean="0"/>
              <a:t>MANAGEMENT </a:t>
            </a:r>
            <a:endParaRPr lang="en-GB" sz="1800" b="1" kern="0" dirty="0" smtClean="0"/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/>
              <a:t> </a:t>
            </a:r>
            <a:r>
              <a:rPr lang="en-GB" sz="1800" b="1" kern="0" dirty="0" smtClean="0"/>
              <a:t>        </a:t>
            </a:r>
            <a:r>
              <a:rPr lang="en-GB" sz="1800" b="1" kern="0" dirty="0" smtClean="0"/>
              <a:t>AREA </a:t>
            </a:r>
            <a:r>
              <a:rPr lang="en-GB" sz="1800" b="1" kern="0" dirty="0" smtClean="0"/>
              <a:t>TO POPULATE</a:t>
            </a:r>
            <a:endParaRPr lang="en-ZA" sz="1800" b="1" kern="0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8318448"/>
              </p:ext>
            </p:extLst>
          </p:nvPr>
        </p:nvGraphicFramePr>
        <p:xfrm>
          <a:off x="1" y="1789330"/>
          <a:ext cx="12191998" cy="5906870"/>
        </p:xfrm>
        <a:graphic>
          <a:graphicData uri="http://schemas.openxmlformats.org/drawingml/2006/table">
            <a:tbl>
              <a:tblPr firstRow="1" bandRow="1"/>
              <a:tblGrid>
                <a:gridCol w="1741714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</a:tblGrid>
              <a:tr h="706563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 2020/21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UARTER 2</a:t>
                      </a:r>
                      <a:b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S THAT CONTRIBUTED TOWARDS UNDER-ACHIEVEMENT 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ASONS FOR UNDER</a:t>
                      </a:r>
                    </a:p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OOT CAUSES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SSOCIATED RISKS 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1443563">
                <a:tc>
                  <a:txBody>
                    <a:bodyPr/>
                    <a:lstStyle/>
                    <a:p>
                      <a:r>
                        <a:rPr lang="en-ZA" sz="1400" dirty="0" smtClean="0">
                          <a:solidFill>
                            <a:schemeClr val="tx1"/>
                          </a:solidFill>
                          <a:latin typeface="+mn-lt"/>
                        </a:rPr>
                        <a:t>330/0 = 0.00%</a:t>
                      </a:r>
                      <a:endParaRPr lang="en-ZA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+mn-lt"/>
                        </a:rPr>
                        <a:t>28/0 = 0.00%</a:t>
                      </a:r>
                      <a:endParaRPr lang="en-US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400" dirty="0" smtClean="0">
                          <a:solidFill>
                            <a:schemeClr val="tx1"/>
                          </a:solidFill>
                          <a:latin typeface="+mn-lt"/>
                        </a:rPr>
                        <a:t>Durban</a:t>
                      </a:r>
                      <a:endParaRPr lang="en-ZA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Restorative Justice Programme suspended due to Covid 19 Risk Adjusted Strategy (Suspension of visits to Correctional Centres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Suspension</a:t>
                      </a:r>
                      <a:r>
                        <a:rPr lang="en-ZA" sz="1000" baseline="0" dirty="0" smtClean="0">
                          <a:solidFill>
                            <a:schemeClr val="tx1"/>
                          </a:solidFill>
                        </a:rPr>
                        <a:t> of </a:t>
                      </a:r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Restorative Justice Programme due to Covid 19 Risk Adjusted Strategy (Suspension of visits to Correctional Centres</a:t>
                      </a:r>
                      <a:endParaRPr lang="en-US" sz="10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000" smtClean="0">
                          <a:solidFill>
                            <a:schemeClr val="tx1"/>
                          </a:solidFill>
                        </a:rPr>
                        <a:t>Goal  of effectively and efficiently reintegrating offenders in to communities  not realised and</a:t>
                      </a:r>
                      <a:r>
                        <a:rPr lang="en-US" sz="1000" baseline="0" smtClean="0">
                          <a:solidFill>
                            <a:schemeClr val="tx1"/>
                          </a:solidFill>
                        </a:rPr>
                        <a:t>  lack of meaningful involvement of  victims  in retorative Justice  Programme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1252248"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dirty="0" smtClean="0">
                          <a:solidFill>
                            <a:schemeClr val="tx1"/>
                          </a:solidFill>
                          <a:latin typeface="+mn-lt"/>
                        </a:rPr>
                        <a:t>491/0 = 0.00%</a:t>
                      </a:r>
                    </a:p>
                    <a:p>
                      <a:endParaRPr lang="en-ZA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+mn-lt"/>
                        </a:rPr>
                        <a:t>75/0 = 0.00%</a:t>
                      </a:r>
                      <a:endParaRPr lang="en-US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+mn-lt"/>
                        </a:rPr>
                        <a:t>Empangeni</a:t>
                      </a:r>
                      <a:endParaRPr lang="en-US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Restorative Justice Programme suspended due to Covid 19 Risk Adjusted Strategy (Suspension of visits to Correctional Centres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smtClean="0">
                          <a:solidFill>
                            <a:schemeClr val="tx1"/>
                          </a:solidFill>
                        </a:rPr>
                        <a:t>Suspension</a:t>
                      </a:r>
                      <a:r>
                        <a:rPr lang="en-ZA" sz="1000" baseline="0" smtClean="0">
                          <a:solidFill>
                            <a:schemeClr val="tx1"/>
                          </a:solidFill>
                        </a:rPr>
                        <a:t> of </a:t>
                      </a:r>
                      <a:r>
                        <a:rPr lang="en-ZA" sz="1000" smtClean="0">
                          <a:solidFill>
                            <a:schemeClr val="tx1"/>
                          </a:solidFill>
                        </a:rPr>
                        <a:t>Restorative Justice Programme due to Covid 19 Risk Adjusted Strategy (Suspension of visits to Correctional Centres</a:t>
                      </a:r>
                      <a:endParaRPr lang="en-US" sz="10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Goal  of effectively and efficiently reintegrating offenders in to communities  not realized and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</a:rPr>
                        <a:t>  lack of meaningful involvement of  victims  in restorative Justice  Programme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1252248"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dirty="0" smtClean="0">
                          <a:solidFill>
                            <a:schemeClr val="tx1"/>
                          </a:solidFill>
                          <a:latin typeface="+mn-lt"/>
                        </a:rPr>
                        <a:t>120/0 = 0.00%</a:t>
                      </a:r>
                    </a:p>
                    <a:p>
                      <a:endParaRPr lang="en-ZA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+mn-lt"/>
                        </a:rPr>
                        <a:t>1/0= 0.00%</a:t>
                      </a:r>
                      <a:endParaRPr lang="en-US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+mn-lt"/>
                        </a:rPr>
                        <a:t>Glencoe</a:t>
                      </a:r>
                      <a:endParaRPr lang="en-US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Restorative Justice Programme suspended due to Covid 19 Risk Adjusted Strategy (Suspension of visits to Correctional Centres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smtClean="0">
                          <a:solidFill>
                            <a:schemeClr val="tx1"/>
                          </a:solidFill>
                        </a:rPr>
                        <a:t>Suspension</a:t>
                      </a:r>
                      <a:r>
                        <a:rPr lang="en-ZA" sz="1000" baseline="0" smtClean="0">
                          <a:solidFill>
                            <a:schemeClr val="tx1"/>
                          </a:solidFill>
                        </a:rPr>
                        <a:t> of </a:t>
                      </a:r>
                      <a:r>
                        <a:rPr lang="en-ZA" sz="1000" smtClean="0">
                          <a:solidFill>
                            <a:schemeClr val="tx1"/>
                          </a:solidFill>
                        </a:rPr>
                        <a:t>Restorative Justice Programme due to Covid 19 Risk Adjusted Strategy (Suspension of visits to Correctional Centres</a:t>
                      </a:r>
                      <a:endParaRPr lang="en-US" sz="10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Goal  of effectively and efficiently reintegrating offenders in to communities  not realized and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</a:rPr>
                        <a:t>  lack of meaningful involvement of  victims  in restorative Justice  Programme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1252248"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dirty="0" smtClean="0">
                          <a:solidFill>
                            <a:schemeClr val="tx1"/>
                          </a:solidFill>
                          <a:latin typeface="+mn-lt"/>
                        </a:rPr>
                        <a:t>384/0 = 0.00%</a:t>
                      </a:r>
                    </a:p>
                    <a:p>
                      <a:endParaRPr lang="en-ZA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+mn-lt"/>
                        </a:rPr>
                        <a:t>46/0 = 0.00%</a:t>
                      </a:r>
                    </a:p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+mn-lt"/>
                        </a:rPr>
                        <a:t>Denominator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to be included</a:t>
                      </a:r>
                      <a:endParaRPr lang="en-US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+mn-lt"/>
                        </a:rPr>
                        <a:t>Kokstad</a:t>
                      </a:r>
                      <a:endParaRPr lang="en-US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Restorative Justice Programme suspended due to Covid 19 Risk Adjusted Strategy (Suspension of visits to Correctional Centres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Suspension</a:t>
                      </a:r>
                      <a:r>
                        <a:rPr lang="en-ZA" sz="1000" baseline="0" dirty="0" smtClean="0">
                          <a:solidFill>
                            <a:schemeClr val="tx1"/>
                          </a:solidFill>
                        </a:rPr>
                        <a:t> of </a:t>
                      </a:r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Restorative Justice Programme due to Covid 19 Risk Adjusted Strategy (Suspension of visits to Correctional Centres</a:t>
                      </a:r>
                      <a:endParaRPr lang="en-US" sz="10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Goal  of effectively and efficiently reintegrating offenders in to communities  not realized and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</a:rPr>
                        <a:t>  lack of meaningful involvement of  victims  in restorative Justice  Programme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>
              <a:spcAft>
                <a:spcPts val="600"/>
              </a:spcAft>
            </a:pPr>
            <a:r>
              <a:rPr lang="en-ZA" kern="0" dirty="0">
                <a:solidFill>
                  <a:schemeClr val="bg1"/>
                </a:solidFill>
                <a:latin typeface="Arial Black" panose="020B0A04020102020204" pitchFamily="34" charset="0"/>
              </a:rPr>
              <a:t>'Percentage increase of victims participating in Restorative Justice Programme</a:t>
            </a:r>
          </a:p>
        </p:txBody>
      </p:sp>
    </p:spTree>
    <p:extLst>
      <p:ext uri="{BB962C8B-B14F-4D97-AF65-F5344CB8AC3E}">
        <p14:creationId xmlns:p14="http://schemas.microsoft.com/office/powerpoint/2010/main" val="2040554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390684" y="-5304540"/>
            <a:ext cx="1440000" cy="1216263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9369" y="1440000"/>
            <a:ext cx="110362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2. 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CORRECTIONAL CENTRE LEVEL </a:t>
            </a:r>
            <a:r>
              <a:rPr lang="en-GB" sz="1800" b="1" kern="0" dirty="0" smtClean="0"/>
              <a:t>MANAGEMENT </a:t>
            </a:r>
            <a:endParaRPr lang="en-GB" sz="1800" b="1" kern="0" dirty="0" smtClean="0"/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/>
              <a:t> </a:t>
            </a:r>
            <a:r>
              <a:rPr lang="en-GB" sz="1800" b="1" kern="0" dirty="0" smtClean="0"/>
              <a:t>         </a:t>
            </a:r>
            <a:r>
              <a:rPr lang="en-GB" sz="1800" b="1" kern="0" dirty="0" smtClean="0"/>
              <a:t>AREA </a:t>
            </a:r>
            <a:r>
              <a:rPr lang="en-GB" sz="1800" b="1" kern="0" dirty="0" smtClean="0"/>
              <a:t>TO POPULATE</a:t>
            </a:r>
            <a:endParaRPr lang="en-ZA" sz="1800" b="1" kern="0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8318448"/>
              </p:ext>
            </p:extLst>
          </p:nvPr>
        </p:nvGraphicFramePr>
        <p:xfrm>
          <a:off x="1" y="2086330"/>
          <a:ext cx="12191998" cy="4998916"/>
        </p:xfrm>
        <a:graphic>
          <a:graphicData uri="http://schemas.openxmlformats.org/drawingml/2006/table">
            <a:tbl>
              <a:tblPr firstRow="1" bandRow="1"/>
              <a:tblGrid>
                <a:gridCol w="1741714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</a:tblGrid>
              <a:tr h="701197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 2020/21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UARTER 2</a:t>
                      </a:r>
                      <a:b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S THAT CONTRIBUTED TOWARDS UNDER-ACHIEVEMENT 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ASONS FOR UNDER</a:t>
                      </a:r>
                    </a:p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OOT CAUSES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SSOCIATED RISKS 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1432599">
                <a:tc>
                  <a:txBody>
                    <a:bodyPr/>
                    <a:lstStyle/>
                    <a:p>
                      <a:pPr lvl="1" algn="l"/>
                      <a:r>
                        <a:rPr lang="en-ZA" sz="1400" dirty="0" smtClean="0">
                          <a:latin typeface="+mn-lt"/>
                        </a:rPr>
                        <a:t>192/0 = 0.00%</a:t>
                      </a:r>
                      <a:endParaRPr lang="en-ZA" sz="1400" dirty="0"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+mn-lt"/>
                        </a:rPr>
                        <a:t>16/0 = 0.00%</a:t>
                      </a:r>
                      <a:endParaRPr lang="en-US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ZA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Ncome</a:t>
                      </a:r>
                      <a:endParaRPr lang="en-ZA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Restorative Justice Programme suspended due to Covid 19 Risk Adjusted Strategy (Suspension of visits to Correctional Centr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Suspension</a:t>
                      </a:r>
                      <a:r>
                        <a:rPr lang="en-ZA" sz="1100" baseline="0" dirty="0" smtClean="0">
                          <a:solidFill>
                            <a:schemeClr val="tx1"/>
                          </a:solidFill>
                        </a:rPr>
                        <a:t> of </a:t>
                      </a:r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Restorative Justice Programme due to Covid 19 Risk Adjusted Strategy (Suspension of visits to Correctional Centres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Goal  of effectively and efficiently reintegrating offenders in to communities  not realized and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 lack of meaningful involvement of  victims  in restorative Justice  Programme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1242737">
                <a:tc>
                  <a:txBody>
                    <a:bodyPr/>
                    <a:lstStyle/>
                    <a:p>
                      <a:pPr algn="l"/>
                      <a:r>
                        <a:rPr lang="en-ZA" sz="1400" dirty="0" smtClean="0">
                          <a:latin typeface="+mn-lt"/>
                        </a:rPr>
                        <a:t>138/0 = 0.00%</a:t>
                      </a:r>
                      <a:endParaRPr lang="en-ZA" sz="1400" dirty="0"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+mn-lt"/>
                        </a:rPr>
                        <a:t>125/0 =0.00%</a:t>
                      </a:r>
                      <a:endParaRPr lang="en-US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PMBurg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Restorative Justice Programme suspended due to Covid 19 Risk Adjusted Strategy (Suspension of visits to Correctional Centr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smtClean="0">
                          <a:solidFill>
                            <a:schemeClr val="tx1"/>
                          </a:solidFill>
                        </a:rPr>
                        <a:t>Suspension</a:t>
                      </a:r>
                      <a:r>
                        <a:rPr lang="en-ZA" sz="1100" baseline="0" smtClean="0">
                          <a:solidFill>
                            <a:schemeClr val="tx1"/>
                          </a:solidFill>
                        </a:rPr>
                        <a:t> of </a:t>
                      </a:r>
                      <a:r>
                        <a:rPr lang="en-ZA" sz="1100" smtClean="0">
                          <a:solidFill>
                            <a:schemeClr val="tx1"/>
                          </a:solidFill>
                        </a:rPr>
                        <a:t>Restorative Justice Programme due to Covid 19 Risk Adjusted Strategy (Suspension of visits to Correctional Centres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Goal  of effectively and efficiently reintegrating offenders in to communities  not realized and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 lack of meaningful involvement of  victims  in restorative Justice  Programme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1242737">
                <a:tc>
                  <a:txBody>
                    <a:bodyPr/>
                    <a:lstStyle/>
                    <a:p>
                      <a:pPr algn="l"/>
                      <a:r>
                        <a:rPr lang="en-ZA" sz="1400" dirty="0" smtClean="0">
                          <a:latin typeface="+mn-lt"/>
                        </a:rPr>
                        <a:t>132/0 = 0.00%</a:t>
                      </a:r>
                      <a:endParaRPr lang="en-ZA" sz="1400" dirty="0"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+mn-lt"/>
                        </a:rPr>
                        <a:t>27/0 = 0.00%</a:t>
                      </a:r>
                      <a:endParaRPr lang="en-US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Waterval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Restorative Justice Programme suspended due to Covid 19 Risk Adjusted Strategy (Suspension of visits to Correctional Centr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Suspension</a:t>
                      </a:r>
                      <a:r>
                        <a:rPr lang="en-ZA" sz="1100" baseline="0" dirty="0" smtClean="0">
                          <a:solidFill>
                            <a:schemeClr val="tx1"/>
                          </a:solidFill>
                        </a:rPr>
                        <a:t> of </a:t>
                      </a:r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Restorative Justice Programme due to Covid 19 Risk Adjusted Strategy (Suspension of visits to Correctional Centres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Goal  of effectively and efficiently reintegrating offenders in to communities  not realized and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 lack of meaningful involvement of  victims  in restorative Justice  Programme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>
              <a:spcAft>
                <a:spcPts val="600"/>
              </a:spcAft>
            </a:pPr>
            <a:r>
              <a:rPr lang="en-ZA" sz="2400" kern="0" dirty="0">
                <a:solidFill>
                  <a:schemeClr val="bg1"/>
                </a:solidFill>
                <a:latin typeface="Arial Black" panose="020B0A04020102020204" pitchFamily="34" charset="0"/>
              </a:rPr>
              <a:t>'Percentage increase of victims participating in Restorative Justice Programme</a:t>
            </a:r>
          </a:p>
        </p:txBody>
      </p:sp>
    </p:spTree>
    <p:extLst>
      <p:ext uri="{BB962C8B-B14F-4D97-AF65-F5344CB8AC3E}">
        <p14:creationId xmlns:p14="http://schemas.microsoft.com/office/powerpoint/2010/main" val="2040554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trellis">
          <a:fgClr>
            <a:srgbClr val="FFFFFF"/>
          </a:fgClr>
          <a:bgClr>
            <a:srgbClr val="BCEABC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65498" y="-21773"/>
            <a:ext cx="8392701" cy="6270173"/>
            <a:chOff x="65499" y="-21773"/>
            <a:chExt cx="7302314" cy="5185651"/>
          </a:xfrm>
        </p:grpSpPr>
        <p:sp>
          <p:nvSpPr>
            <p:cNvPr id="3" name="Rectangle: Top Corners Rounded 24">
              <a:extLst>
                <a:ext uri="{FF2B5EF4-FFF2-40B4-BE49-F238E27FC236}">
                  <a16:creationId xmlns="" xmlns:a16="http://schemas.microsoft.com/office/drawing/2014/main" id="{0DC4C310-37AB-43E0-9D8B-683A5AE91EB8}"/>
                </a:ext>
              </a:extLst>
            </p:cNvPr>
            <p:cNvSpPr/>
            <p:nvPr/>
          </p:nvSpPr>
          <p:spPr>
            <a:xfrm rot="10800000">
              <a:off x="575313" y="-10887"/>
              <a:ext cx="6282685" cy="5174765"/>
            </a:xfrm>
            <a:prstGeom prst="round2SameRect">
              <a:avLst>
                <a:gd name="adj1" fmla="val 13687"/>
                <a:gd name="adj2" fmla="val 0"/>
              </a:avLst>
            </a:prstGeom>
            <a:gradFill flip="none" rotWithShape="1">
              <a:gsLst>
                <a:gs pos="99000">
                  <a:srgbClr val="00CC99"/>
                </a:gs>
                <a:gs pos="1000">
                  <a:srgbClr val="009900"/>
                </a:gs>
              </a:gsLst>
              <a:lin ang="162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5" name="Isosceles Triangle 3"/>
            <p:cNvSpPr/>
            <p:nvPr/>
          </p:nvSpPr>
          <p:spPr bwMode="auto">
            <a:xfrm>
              <a:off x="6847113" y="-21773"/>
              <a:ext cx="520700" cy="1270000"/>
            </a:xfrm>
            <a:custGeom>
              <a:avLst/>
              <a:gdLst>
                <a:gd name="connsiteX0" fmla="*/ 0 w 431800"/>
                <a:gd name="connsiteY0" fmla="*/ 1143000 h 1143000"/>
                <a:gd name="connsiteX1" fmla="*/ 215900 w 431800"/>
                <a:gd name="connsiteY1" fmla="*/ 0 h 1143000"/>
                <a:gd name="connsiteX2" fmla="*/ 431800 w 431800"/>
                <a:gd name="connsiteY2" fmla="*/ 1143000 h 1143000"/>
                <a:gd name="connsiteX3" fmla="*/ 0 w 431800"/>
                <a:gd name="connsiteY3" fmla="*/ 1143000 h 1143000"/>
                <a:gd name="connsiteX0" fmla="*/ 0 w 647700"/>
                <a:gd name="connsiteY0" fmla="*/ 1117600 h 1117600"/>
                <a:gd name="connsiteX1" fmla="*/ 647700 w 647700"/>
                <a:gd name="connsiteY1" fmla="*/ 0 h 1117600"/>
                <a:gd name="connsiteX2" fmla="*/ 431800 w 647700"/>
                <a:gd name="connsiteY2" fmla="*/ 1117600 h 1117600"/>
                <a:gd name="connsiteX3" fmla="*/ 0 w 647700"/>
                <a:gd name="connsiteY3" fmla="*/ 1117600 h 1117600"/>
                <a:gd name="connsiteX0" fmla="*/ 0 w 647700"/>
                <a:gd name="connsiteY0" fmla="*/ 1117600 h 1244600"/>
                <a:gd name="connsiteX1" fmla="*/ 647700 w 647700"/>
                <a:gd name="connsiteY1" fmla="*/ 0 h 1244600"/>
                <a:gd name="connsiteX2" fmla="*/ 558800 w 647700"/>
                <a:gd name="connsiteY2" fmla="*/ 1244600 h 1244600"/>
                <a:gd name="connsiteX3" fmla="*/ 0 w 647700"/>
                <a:gd name="connsiteY3" fmla="*/ 1117600 h 1244600"/>
                <a:gd name="connsiteX0" fmla="*/ 0 w 647700"/>
                <a:gd name="connsiteY0" fmla="*/ 1270000 h 1397000"/>
                <a:gd name="connsiteX1" fmla="*/ 647700 w 647700"/>
                <a:gd name="connsiteY1" fmla="*/ 0 h 1397000"/>
                <a:gd name="connsiteX2" fmla="*/ 558800 w 647700"/>
                <a:gd name="connsiteY2" fmla="*/ 1397000 h 1397000"/>
                <a:gd name="connsiteX3" fmla="*/ 0 w 647700"/>
                <a:gd name="connsiteY3" fmla="*/ 1270000 h 1397000"/>
                <a:gd name="connsiteX0" fmla="*/ 0 w 469900"/>
                <a:gd name="connsiteY0" fmla="*/ 1701800 h 1701800"/>
                <a:gd name="connsiteX1" fmla="*/ 469900 w 469900"/>
                <a:gd name="connsiteY1" fmla="*/ 0 h 1701800"/>
                <a:gd name="connsiteX2" fmla="*/ 381000 w 469900"/>
                <a:gd name="connsiteY2" fmla="*/ 1397000 h 1701800"/>
                <a:gd name="connsiteX3" fmla="*/ 0 w 469900"/>
                <a:gd name="connsiteY3" fmla="*/ 1701800 h 1701800"/>
                <a:gd name="connsiteX0" fmla="*/ 0 w 596900"/>
                <a:gd name="connsiteY0" fmla="*/ 1346200 h 1397000"/>
                <a:gd name="connsiteX1" fmla="*/ 596900 w 596900"/>
                <a:gd name="connsiteY1" fmla="*/ 0 h 1397000"/>
                <a:gd name="connsiteX2" fmla="*/ 508000 w 596900"/>
                <a:gd name="connsiteY2" fmla="*/ 1397000 h 1397000"/>
                <a:gd name="connsiteX3" fmla="*/ 0 w 596900"/>
                <a:gd name="connsiteY3" fmla="*/ 1346200 h 1397000"/>
                <a:gd name="connsiteX0" fmla="*/ 0 w 596900"/>
                <a:gd name="connsiteY0" fmla="*/ 1346200 h 1397000"/>
                <a:gd name="connsiteX1" fmla="*/ 596900 w 596900"/>
                <a:gd name="connsiteY1" fmla="*/ 0 h 1397000"/>
                <a:gd name="connsiteX2" fmla="*/ 584200 w 596900"/>
                <a:gd name="connsiteY2" fmla="*/ 1397000 h 1397000"/>
                <a:gd name="connsiteX3" fmla="*/ 0 w 596900"/>
                <a:gd name="connsiteY3" fmla="*/ 1346200 h 1397000"/>
                <a:gd name="connsiteX0" fmla="*/ 0 w 584200"/>
                <a:gd name="connsiteY0" fmla="*/ 1193800 h 1244600"/>
                <a:gd name="connsiteX1" fmla="*/ 495300 w 584200"/>
                <a:gd name="connsiteY1" fmla="*/ 0 h 1244600"/>
                <a:gd name="connsiteX2" fmla="*/ 584200 w 584200"/>
                <a:gd name="connsiteY2" fmla="*/ 1244600 h 1244600"/>
                <a:gd name="connsiteX3" fmla="*/ 0 w 584200"/>
                <a:gd name="connsiteY3" fmla="*/ 1193800 h 1244600"/>
                <a:gd name="connsiteX0" fmla="*/ 0 w 584200"/>
                <a:gd name="connsiteY0" fmla="*/ 1219200 h 1270000"/>
                <a:gd name="connsiteX1" fmla="*/ 571500 w 584200"/>
                <a:gd name="connsiteY1" fmla="*/ 0 h 1270000"/>
                <a:gd name="connsiteX2" fmla="*/ 584200 w 584200"/>
                <a:gd name="connsiteY2" fmla="*/ 1270000 h 1270000"/>
                <a:gd name="connsiteX3" fmla="*/ 0 w 584200"/>
                <a:gd name="connsiteY3" fmla="*/ 1219200 h 1270000"/>
                <a:gd name="connsiteX0" fmla="*/ 469900 w 469900"/>
                <a:gd name="connsiteY0" fmla="*/ 1193800 h 1270000"/>
                <a:gd name="connsiteX1" fmla="*/ 0 w 469900"/>
                <a:gd name="connsiteY1" fmla="*/ 0 h 1270000"/>
                <a:gd name="connsiteX2" fmla="*/ 12700 w 469900"/>
                <a:gd name="connsiteY2" fmla="*/ 1270000 h 1270000"/>
                <a:gd name="connsiteX3" fmla="*/ 469900 w 469900"/>
                <a:gd name="connsiteY3" fmla="*/ 1193800 h 1270000"/>
                <a:gd name="connsiteX0" fmla="*/ 469900 w 469900"/>
                <a:gd name="connsiteY0" fmla="*/ 1193800 h 1270000"/>
                <a:gd name="connsiteX1" fmla="*/ 0 w 469900"/>
                <a:gd name="connsiteY1" fmla="*/ 0 h 1270000"/>
                <a:gd name="connsiteX2" fmla="*/ 12700 w 469900"/>
                <a:gd name="connsiteY2" fmla="*/ 1270000 h 1270000"/>
                <a:gd name="connsiteX3" fmla="*/ 469900 w 469900"/>
                <a:gd name="connsiteY3" fmla="*/ 1193800 h 1270000"/>
                <a:gd name="connsiteX0" fmla="*/ 495300 w 495300"/>
                <a:gd name="connsiteY0" fmla="*/ 1193800 h 1270000"/>
                <a:gd name="connsiteX1" fmla="*/ 0 w 495300"/>
                <a:gd name="connsiteY1" fmla="*/ 0 h 1270000"/>
                <a:gd name="connsiteX2" fmla="*/ 12700 w 495300"/>
                <a:gd name="connsiteY2" fmla="*/ 1270000 h 1270000"/>
                <a:gd name="connsiteX3" fmla="*/ 495300 w 495300"/>
                <a:gd name="connsiteY3" fmla="*/ 1193800 h 1270000"/>
                <a:gd name="connsiteX0" fmla="*/ 520700 w 520700"/>
                <a:gd name="connsiteY0" fmla="*/ 1270000 h 1270000"/>
                <a:gd name="connsiteX1" fmla="*/ 0 w 520700"/>
                <a:gd name="connsiteY1" fmla="*/ 0 h 1270000"/>
                <a:gd name="connsiteX2" fmla="*/ 12700 w 520700"/>
                <a:gd name="connsiteY2" fmla="*/ 1270000 h 1270000"/>
                <a:gd name="connsiteX3" fmla="*/ 520700 w 520700"/>
                <a:gd name="connsiteY3" fmla="*/ 1270000 h 1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0700" h="1270000">
                  <a:moveTo>
                    <a:pt x="520700" y="1270000"/>
                  </a:moveTo>
                  <a:lnTo>
                    <a:pt x="0" y="0"/>
                  </a:lnTo>
                  <a:lnTo>
                    <a:pt x="12700" y="1270000"/>
                  </a:lnTo>
                  <a:lnTo>
                    <a:pt x="520700" y="1270000"/>
                  </a:lnTo>
                  <a:close/>
                </a:path>
              </a:pathLst>
            </a:custGeom>
            <a:solidFill>
              <a:srgbClr val="009900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n-ZA" smtClean="0">
                <a:solidFill>
                  <a:srgbClr val="000000"/>
                </a:solidFill>
              </a:endParaRPr>
            </a:p>
          </p:txBody>
        </p:sp>
        <p:sp>
          <p:nvSpPr>
            <p:cNvPr id="6" name="Isosceles Triangle 3"/>
            <p:cNvSpPr/>
            <p:nvPr/>
          </p:nvSpPr>
          <p:spPr bwMode="auto">
            <a:xfrm rot="10800000" flipV="1">
              <a:off x="65499" y="-10887"/>
              <a:ext cx="520700" cy="1270000"/>
            </a:xfrm>
            <a:custGeom>
              <a:avLst/>
              <a:gdLst>
                <a:gd name="connsiteX0" fmla="*/ 0 w 431800"/>
                <a:gd name="connsiteY0" fmla="*/ 1143000 h 1143000"/>
                <a:gd name="connsiteX1" fmla="*/ 215900 w 431800"/>
                <a:gd name="connsiteY1" fmla="*/ 0 h 1143000"/>
                <a:gd name="connsiteX2" fmla="*/ 431800 w 431800"/>
                <a:gd name="connsiteY2" fmla="*/ 1143000 h 1143000"/>
                <a:gd name="connsiteX3" fmla="*/ 0 w 431800"/>
                <a:gd name="connsiteY3" fmla="*/ 1143000 h 1143000"/>
                <a:gd name="connsiteX0" fmla="*/ 0 w 647700"/>
                <a:gd name="connsiteY0" fmla="*/ 1117600 h 1117600"/>
                <a:gd name="connsiteX1" fmla="*/ 647700 w 647700"/>
                <a:gd name="connsiteY1" fmla="*/ 0 h 1117600"/>
                <a:gd name="connsiteX2" fmla="*/ 431800 w 647700"/>
                <a:gd name="connsiteY2" fmla="*/ 1117600 h 1117600"/>
                <a:gd name="connsiteX3" fmla="*/ 0 w 647700"/>
                <a:gd name="connsiteY3" fmla="*/ 1117600 h 1117600"/>
                <a:gd name="connsiteX0" fmla="*/ 0 w 647700"/>
                <a:gd name="connsiteY0" fmla="*/ 1117600 h 1244600"/>
                <a:gd name="connsiteX1" fmla="*/ 647700 w 647700"/>
                <a:gd name="connsiteY1" fmla="*/ 0 h 1244600"/>
                <a:gd name="connsiteX2" fmla="*/ 558800 w 647700"/>
                <a:gd name="connsiteY2" fmla="*/ 1244600 h 1244600"/>
                <a:gd name="connsiteX3" fmla="*/ 0 w 647700"/>
                <a:gd name="connsiteY3" fmla="*/ 1117600 h 1244600"/>
                <a:gd name="connsiteX0" fmla="*/ 0 w 647700"/>
                <a:gd name="connsiteY0" fmla="*/ 1270000 h 1397000"/>
                <a:gd name="connsiteX1" fmla="*/ 647700 w 647700"/>
                <a:gd name="connsiteY1" fmla="*/ 0 h 1397000"/>
                <a:gd name="connsiteX2" fmla="*/ 558800 w 647700"/>
                <a:gd name="connsiteY2" fmla="*/ 1397000 h 1397000"/>
                <a:gd name="connsiteX3" fmla="*/ 0 w 647700"/>
                <a:gd name="connsiteY3" fmla="*/ 1270000 h 1397000"/>
                <a:gd name="connsiteX0" fmla="*/ 0 w 469900"/>
                <a:gd name="connsiteY0" fmla="*/ 1701800 h 1701800"/>
                <a:gd name="connsiteX1" fmla="*/ 469900 w 469900"/>
                <a:gd name="connsiteY1" fmla="*/ 0 h 1701800"/>
                <a:gd name="connsiteX2" fmla="*/ 381000 w 469900"/>
                <a:gd name="connsiteY2" fmla="*/ 1397000 h 1701800"/>
                <a:gd name="connsiteX3" fmla="*/ 0 w 469900"/>
                <a:gd name="connsiteY3" fmla="*/ 1701800 h 1701800"/>
                <a:gd name="connsiteX0" fmla="*/ 0 w 596900"/>
                <a:gd name="connsiteY0" fmla="*/ 1346200 h 1397000"/>
                <a:gd name="connsiteX1" fmla="*/ 596900 w 596900"/>
                <a:gd name="connsiteY1" fmla="*/ 0 h 1397000"/>
                <a:gd name="connsiteX2" fmla="*/ 508000 w 596900"/>
                <a:gd name="connsiteY2" fmla="*/ 1397000 h 1397000"/>
                <a:gd name="connsiteX3" fmla="*/ 0 w 596900"/>
                <a:gd name="connsiteY3" fmla="*/ 1346200 h 1397000"/>
                <a:gd name="connsiteX0" fmla="*/ 0 w 596900"/>
                <a:gd name="connsiteY0" fmla="*/ 1346200 h 1397000"/>
                <a:gd name="connsiteX1" fmla="*/ 596900 w 596900"/>
                <a:gd name="connsiteY1" fmla="*/ 0 h 1397000"/>
                <a:gd name="connsiteX2" fmla="*/ 584200 w 596900"/>
                <a:gd name="connsiteY2" fmla="*/ 1397000 h 1397000"/>
                <a:gd name="connsiteX3" fmla="*/ 0 w 596900"/>
                <a:gd name="connsiteY3" fmla="*/ 1346200 h 1397000"/>
                <a:gd name="connsiteX0" fmla="*/ 0 w 584200"/>
                <a:gd name="connsiteY0" fmla="*/ 1193800 h 1244600"/>
                <a:gd name="connsiteX1" fmla="*/ 495300 w 584200"/>
                <a:gd name="connsiteY1" fmla="*/ 0 h 1244600"/>
                <a:gd name="connsiteX2" fmla="*/ 584200 w 584200"/>
                <a:gd name="connsiteY2" fmla="*/ 1244600 h 1244600"/>
                <a:gd name="connsiteX3" fmla="*/ 0 w 584200"/>
                <a:gd name="connsiteY3" fmla="*/ 1193800 h 1244600"/>
                <a:gd name="connsiteX0" fmla="*/ 0 w 584200"/>
                <a:gd name="connsiteY0" fmla="*/ 1219200 h 1270000"/>
                <a:gd name="connsiteX1" fmla="*/ 571500 w 584200"/>
                <a:gd name="connsiteY1" fmla="*/ 0 h 1270000"/>
                <a:gd name="connsiteX2" fmla="*/ 584200 w 584200"/>
                <a:gd name="connsiteY2" fmla="*/ 1270000 h 1270000"/>
                <a:gd name="connsiteX3" fmla="*/ 0 w 584200"/>
                <a:gd name="connsiteY3" fmla="*/ 1219200 h 1270000"/>
                <a:gd name="connsiteX0" fmla="*/ 469900 w 469900"/>
                <a:gd name="connsiteY0" fmla="*/ 1193800 h 1270000"/>
                <a:gd name="connsiteX1" fmla="*/ 0 w 469900"/>
                <a:gd name="connsiteY1" fmla="*/ 0 h 1270000"/>
                <a:gd name="connsiteX2" fmla="*/ 12700 w 469900"/>
                <a:gd name="connsiteY2" fmla="*/ 1270000 h 1270000"/>
                <a:gd name="connsiteX3" fmla="*/ 469900 w 469900"/>
                <a:gd name="connsiteY3" fmla="*/ 1193800 h 1270000"/>
                <a:gd name="connsiteX0" fmla="*/ 469900 w 469900"/>
                <a:gd name="connsiteY0" fmla="*/ 1193800 h 1270000"/>
                <a:gd name="connsiteX1" fmla="*/ 0 w 469900"/>
                <a:gd name="connsiteY1" fmla="*/ 0 h 1270000"/>
                <a:gd name="connsiteX2" fmla="*/ 12700 w 469900"/>
                <a:gd name="connsiteY2" fmla="*/ 1270000 h 1270000"/>
                <a:gd name="connsiteX3" fmla="*/ 469900 w 469900"/>
                <a:gd name="connsiteY3" fmla="*/ 1193800 h 1270000"/>
                <a:gd name="connsiteX0" fmla="*/ 495300 w 495300"/>
                <a:gd name="connsiteY0" fmla="*/ 1193800 h 1270000"/>
                <a:gd name="connsiteX1" fmla="*/ 0 w 495300"/>
                <a:gd name="connsiteY1" fmla="*/ 0 h 1270000"/>
                <a:gd name="connsiteX2" fmla="*/ 12700 w 495300"/>
                <a:gd name="connsiteY2" fmla="*/ 1270000 h 1270000"/>
                <a:gd name="connsiteX3" fmla="*/ 495300 w 495300"/>
                <a:gd name="connsiteY3" fmla="*/ 1193800 h 1270000"/>
                <a:gd name="connsiteX0" fmla="*/ 520700 w 520700"/>
                <a:gd name="connsiteY0" fmla="*/ 1270000 h 1270000"/>
                <a:gd name="connsiteX1" fmla="*/ 0 w 520700"/>
                <a:gd name="connsiteY1" fmla="*/ 0 h 1270000"/>
                <a:gd name="connsiteX2" fmla="*/ 12700 w 520700"/>
                <a:gd name="connsiteY2" fmla="*/ 1270000 h 1270000"/>
                <a:gd name="connsiteX3" fmla="*/ 520700 w 520700"/>
                <a:gd name="connsiteY3" fmla="*/ 1270000 h 1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0700" h="1270000">
                  <a:moveTo>
                    <a:pt x="520700" y="1270000"/>
                  </a:moveTo>
                  <a:lnTo>
                    <a:pt x="0" y="0"/>
                  </a:lnTo>
                  <a:lnTo>
                    <a:pt x="12700" y="1270000"/>
                  </a:lnTo>
                  <a:lnTo>
                    <a:pt x="520700" y="1270000"/>
                  </a:lnTo>
                  <a:close/>
                </a:path>
              </a:pathLst>
            </a:custGeom>
            <a:solidFill>
              <a:srgbClr val="009900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n-ZA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651437" y="1088571"/>
            <a:ext cx="7097748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6600" dirty="0" smtClean="0">
                <a:solidFill>
                  <a:prstClr val="white"/>
                </a:solidFill>
                <a:latin typeface="Arial Black" panose="020B0A04020102020204" pitchFamily="34" charset="0"/>
              </a:rPr>
              <a:t>PROGRAMME 2</a:t>
            </a:r>
          </a:p>
          <a:p>
            <a:pPr algn="ctr"/>
            <a:endParaRPr lang="en-ZA" sz="6600" dirty="0">
              <a:solidFill>
                <a:prstClr val="white"/>
              </a:solidFill>
              <a:latin typeface="Arial Black" panose="020B0A04020102020204" pitchFamily="34" charset="0"/>
            </a:endParaRPr>
          </a:p>
          <a:p>
            <a:pPr algn="ctr"/>
            <a:r>
              <a:rPr lang="en-ZA" sz="5400" dirty="0" smtClean="0">
                <a:solidFill>
                  <a:prstClr val="white"/>
                </a:solidFill>
                <a:latin typeface="Arial Black" panose="020B0A04020102020204" pitchFamily="34" charset="0"/>
              </a:rPr>
              <a:t>INCARCERATION</a:t>
            </a:r>
            <a:endParaRPr lang="en-ZA" sz="5400" dirty="0">
              <a:solidFill>
                <a:prstClr val="white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3666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384334" y="-5367666"/>
            <a:ext cx="1440000" cy="12175331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228600" y="1673596"/>
            <a:ext cx="11658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</a:t>
            </a:r>
            <a:r>
              <a:rPr lang="en-GB" sz="1800" b="1" kern="0" dirty="0" smtClean="0">
                <a:solidFill>
                  <a:prstClr val="black"/>
                </a:solidFill>
              </a:rPr>
              <a:t>4. PROJECT PLAN TO ADDRESS UNDER PERFORMANCE </a:t>
            </a:r>
            <a:r>
              <a:rPr lang="en-GB" sz="1800" b="1" kern="0" dirty="0" smtClean="0"/>
              <a:t>MANAGEMENT AREA TO POPULATE</a:t>
            </a:r>
            <a:endParaRPr lang="en-ZA" sz="1800" b="1" kern="0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047451"/>
              </p:ext>
            </p:extLst>
          </p:nvPr>
        </p:nvGraphicFramePr>
        <p:xfrm>
          <a:off x="215900" y="2298902"/>
          <a:ext cx="11671302" cy="4303490"/>
        </p:xfrm>
        <a:graphic>
          <a:graphicData uri="http://schemas.openxmlformats.org/drawingml/2006/table">
            <a:tbl>
              <a:tblPr firstRow="1" bandRow="1"/>
              <a:tblGrid>
                <a:gridCol w="1945217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</a:tblGrid>
              <a:tr h="584930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CTIVITY / ACTIVITIES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SPONSIBILITY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IME FRAM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ROGRESS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860192">
                <a:tc>
                  <a:txBody>
                    <a:bodyPr/>
                    <a:lstStyle/>
                    <a:p>
                      <a:r>
                        <a:rPr lang="en-ZA" sz="1400" dirty="0" smtClean="0">
                          <a:solidFill>
                            <a:schemeClr val="tx1"/>
                          </a:solidFill>
                          <a:latin typeface="+mn-lt"/>
                        </a:rPr>
                        <a:t>Durban</a:t>
                      </a:r>
                      <a:endParaRPr lang="en-ZA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100" smtClean="0">
                          <a:solidFill>
                            <a:schemeClr val="tx1"/>
                          </a:solidFill>
                        </a:rPr>
                        <a:t>Restorative Justices Programme activities</a:t>
                      </a:r>
                      <a:r>
                        <a:rPr lang="en-ZA" sz="1100" baseline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ZA" sz="1100" smtClean="0">
                          <a:solidFill>
                            <a:schemeClr val="tx1"/>
                          </a:solidFill>
                        </a:rPr>
                        <a:t>to commence according to Covid 19 Risk Adjustment Strategy.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rea Commissioner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and Area Coordinator Correction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October 2020 and ongoing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Covid 19 Risk Adjusted Strategy Regulation are not relaxed to allow for fully</a:t>
                      </a:r>
                      <a:r>
                        <a:rPr lang="en-ZA" sz="1100" baseline="0" dirty="0" smtClean="0">
                          <a:solidFill>
                            <a:schemeClr val="tx1"/>
                          </a:solidFill>
                        </a:rPr>
                        <a:t> fledged restorative justice  activities 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860192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+mn-lt"/>
                        </a:rPr>
                        <a:t>Empangeni</a:t>
                      </a:r>
                      <a:endParaRPr lang="en-US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100" smtClean="0">
                          <a:solidFill>
                            <a:schemeClr val="tx1"/>
                          </a:solidFill>
                        </a:rPr>
                        <a:t>Restorative Justices Programme activities</a:t>
                      </a:r>
                      <a:r>
                        <a:rPr lang="en-ZA" sz="1100" baseline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ZA" sz="1100" smtClean="0">
                          <a:solidFill>
                            <a:schemeClr val="tx1"/>
                          </a:solidFill>
                        </a:rPr>
                        <a:t>to commence according to Covid 19 Risk Adjustment Strategy.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rea Commissioner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and Area Coordinator Correction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October 2020 and ongoing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100" smtClean="0">
                          <a:solidFill>
                            <a:schemeClr val="tx1"/>
                          </a:solidFill>
                        </a:rPr>
                        <a:t>Covid 19 Risk Adjusted Strategy Regulation are not relaxed to allow for fully</a:t>
                      </a:r>
                      <a:r>
                        <a:rPr lang="en-ZA" sz="1100" baseline="0" smtClean="0">
                          <a:solidFill>
                            <a:schemeClr val="tx1"/>
                          </a:solidFill>
                        </a:rPr>
                        <a:t> fledged restorative justice  activities 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860192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+mn-lt"/>
                        </a:rPr>
                        <a:t>Glencoe</a:t>
                      </a:r>
                      <a:endParaRPr lang="en-US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100" smtClean="0">
                          <a:solidFill>
                            <a:schemeClr val="tx1"/>
                          </a:solidFill>
                        </a:rPr>
                        <a:t>Restorative Justices Programme activities</a:t>
                      </a:r>
                      <a:r>
                        <a:rPr lang="en-ZA" sz="1100" baseline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ZA" sz="1100" smtClean="0">
                          <a:solidFill>
                            <a:schemeClr val="tx1"/>
                          </a:solidFill>
                        </a:rPr>
                        <a:t>to commence according to Covid 19 Risk Adjustment Strategy.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rea Commissioner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and Area Coordinator Correction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October 2020 and ongoing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100" smtClean="0">
                          <a:solidFill>
                            <a:schemeClr val="tx1"/>
                          </a:solidFill>
                        </a:rPr>
                        <a:t>Covid 19 Risk Adjusted Strategy Regulation are not relaxed to allow for fully</a:t>
                      </a:r>
                      <a:r>
                        <a:rPr lang="en-ZA" sz="1100" baseline="0" smtClean="0">
                          <a:solidFill>
                            <a:schemeClr val="tx1"/>
                          </a:solidFill>
                        </a:rPr>
                        <a:t> fledged restorative justice  activities 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860192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+mn-lt"/>
                        </a:rPr>
                        <a:t>Kokstad</a:t>
                      </a:r>
                      <a:endParaRPr lang="en-US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Restorative Justices Programme activities</a:t>
                      </a:r>
                      <a:r>
                        <a:rPr lang="en-ZA" sz="11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to commence according to Covid 19 Risk Adjustment Strategy.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rea Commissioner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and Area Coordinator Correction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October 2020 and ongoing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Covid 19 Risk Adjusted Strategy Regulation are not relaxed to allow for fully</a:t>
                      </a:r>
                      <a:r>
                        <a:rPr lang="en-ZA" sz="1100" baseline="0" dirty="0" smtClean="0">
                          <a:solidFill>
                            <a:schemeClr val="tx1"/>
                          </a:solidFill>
                        </a:rPr>
                        <a:t> fledged restorative justice  activities 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PLAN TO ADDRESS UNDER PERFORMANCE:</a:t>
            </a:r>
          </a:p>
          <a:p>
            <a:pPr>
              <a:spcAft>
                <a:spcPts val="600"/>
              </a:spcAft>
            </a:pPr>
            <a:r>
              <a:rPr lang="en-ZA" sz="2400" kern="0" dirty="0">
                <a:solidFill>
                  <a:srgbClr val="FFFFFF"/>
                </a:solidFill>
                <a:latin typeface="Arial Black" panose="020B0A04020102020204" pitchFamily="34" charset="0"/>
              </a:rPr>
              <a:t>'Percentage increase of victims participating in Restorative Justice Programme</a:t>
            </a:r>
          </a:p>
        </p:txBody>
      </p:sp>
    </p:spTree>
    <p:extLst>
      <p:ext uri="{BB962C8B-B14F-4D97-AF65-F5344CB8AC3E}">
        <p14:creationId xmlns:p14="http://schemas.microsoft.com/office/powerpoint/2010/main" val="2828957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384335" y="-5367667"/>
            <a:ext cx="1440000" cy="12175333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9372" y="1440000"/>
            <a:ext cx="117054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</a:t>
            </a:r>
            <a:r>
              <a:rPr lang="en-GB" sz="1800" b="1" kern="0" dirty="0" smtClean="0">
                <a:solidFill>
                  <a:prstClr val="black"/>
                </a:solidFill>
              </a:rPr>
              <a:t>4. PROJECT PLAN TO ADDRESS UNDER PERFORMANCE </a:t>
            </a:r>
            <a:r>
              <a:rPr lang="en-GB" sz="1800" b="1" kern="0" dirty="0" smtClean="0"/>
              <a:t>MANAGEMENT AREA TO POPULATE</a:t>
            </a:r>
            <a:endParaRPr lang="en-ZA" sz="1800" b="1" kern="0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047451"/>
              </p:ext>
            </p:extLst>
          </p:nvPr>
        </p:nvGraphicFramePr>
        <p:xfrm>
          <a:off x="29372" y="2042928"/>
          <a:ext cx="12162630" cy="6206017"/>
        </p:xfrm>
        <a:graphic>
          <a:graphicData uri="http://schemas.openxmlformats.org/drawingml/2006/table">
            <a:tbl>
              <a:tblPr firstRow="1" bandRow="1"/>
              <a:tblGrid>
                <a:gridCol w="2027105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2027105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2027105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2027105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2027105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2027105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</a:tblGrid>
              <a:tr h="734857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CTIVITY / ACTIVITIES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SPONSIBILITY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IME FRAM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ROGRESS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1080672">
                <a:tc>
                  <a:txBody>
                    <a:bodyPr/>
                    <a:lstStyle/>
                    <a:p>
                      <a:pPr algn="l"/>
                      <a:r>
                        <a:rPr lang="en-ZA" sz="14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Ncome</a:t>
                      </a:r>
                      <a:endParaRPr lang="en-ZA" sz="1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ll centr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Restorative Justices Programme activities</a:t>
                      </a:r>
                      <a:r>
                        <a:rPr lang="en-ZA" sz="11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to commence according to Covid 19 Risk Adjustment Strategy. 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rea Commissioner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and Area Coordinator Correction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October 2020 and ongoing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Covid 19 Risk Adjusted Strategy Regulation are not relaxed to allow for fully</a:t>
                      </a:r>
                      <a:r>
                        <a:rPr lang="en-ZA" sz="1100" baseline="0" dirty="0" smtClean="0">
                          <a:solidFill>
                            <a:schemeClr val="tx1"/>
                          </a:solidFill>
                        </a:rPr>
                        <a:t> fledged restorative justice  activities .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VOD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</a:rPr>
                        <a:t> resuscitated during lockdown  alert level 1</a:t>
                      </a:r>
                    </a:p>
                    <a:p>
                      <a:pPr algn="l"/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</a:rPr>
                        <a:t>marketing of VOD to Imbizos and local community radio stations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1080672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PMBurg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All centr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100" smtClean="0">
                          <a:solidFill>
                            <a:schemeClr val="tx1"/>
                          </a:solidFill>
                        </a:rPr>
                        <a:t>Restorative Justices Programme activities</a:t>
                      </a:r>
                      <a:r>
                        <a:rPr lang="en-ZA" sz="1100" baseline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ZA" sz="1100" smtClean="0">
                          <a:solidFill>
                            <a:schemeClr val="tx1"/>
                          </a:solidFill>
                        </a:rPr>
                        <a:t>to commence according to Covid 19 Risk Adjustment Strategy.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rea Commissioner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and Area Coordinator Correction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October 2020 and ongoing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ZA" sz="1100" smtClean="0">
                          <a:solidFill>
                            <a:schemeClr val="tx1"/>
                          </a:solidFill>
                        </a:rPr>
                        <a:t>Covid 19 Risk Adjusted Strategy Regulation are not relaxed to allow for fully</a:t>
                      </a:r>
                      <a:r>
                        <a:rPr lang="en-ZA" sz="1100" baseline="0" smtClean="0">
                          <a:solidFill>
                            <a:schemeClr val="tx1"/>
                          </a:solidFill>
                        </a:rPr>
                        <a:t> fledged restorative justice  activities .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b="0" smtClean="0">
                          <a:solidFill>
                            <a:schemeClr val="tx1"/>
                          </a:solidFill>
                        </a:rPr>
                        <a:t>VOD</a:t>
                      </a:r>
                      <a:r>
                        <a:rPr lang="en-US" sz="1100" b="0" baseline="0" smtClean="0">
                          <a:solidFill>
                            <a:schemeClr val="tx1"/>
                          </a:solidFill>
                        </a:rPr>
                        <a:t> resuscitated during lockdown  alert level 1</a:t>
                      </a:r>
                    </a:p>
                    <a:p>
                      <a:pPr algn="l"/>
                      <a:r>
                        <a:rPr lang="en-US" sz="1100" b="0" baseline="0" smtClean="0">
                          <a:solidFill>
                            <a:schemeClr val="tx1"/>
                          </a:solidFill>
                        </a:rPr>
                        <a:t>marketing of VOD to Imbizos and local community radio stations</a:t>
                      </a:r>
                      <a:endParaRPr lang="en-US" sz="1100" b="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1080672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Waterval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ll centr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Restorative Justices Programme activities</a:t>
                      </a:r>
                      <a:r>
                        <a:rPr lang="en-ZA" sz="11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to commence according to Covid 19 Risk Adjustment Strategy.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rea Commissioner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and Area Coordinator Correction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October 2020 and ongoing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Covid 19 Risk Adjusted Strategy Regulation are not relaxed to allow for fully</a:t>
                      </a:r>
                      <a:r>
                        <a:rPr lang="en-ZA" sz="1100" baseline="0" dirty="0" smtClean="0">
                          <a:solidFill>
                            <a:schemeClr val="tx1"/>
                          </a:solidFill>
                        </a:rPr>
                        <a:t> fledged restorative justice  activities .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VOD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</a:rPr>
                        <a:t> resuscitated during lockdown  alert level 1</a:t>
                      </a:r>
                    </a:p>
                    <a:p>
                      <a:pPr algn="l"/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</a:rPr>
                        <a:t>marketing of VOD to Imbizos and local community radio stations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PLAN TO ADDRESS UNDER PERFORMANCE:</a:t>
            </a:r>
          </a:p>
          <a:p>
            <a:pPr>
              <a:spcAft>
                <a:spcPts val="600"/>
              </a:spcAft>
            </a:pPr>
            <a:r>
              <a:rPr lang="en-ZA" kern="0" dirty="0">
                <a:solidFill>
                  <a:srgbClr val="FFFFFF"/>
                </a:solidFill>
                <a:latin typeface="Arial Black" panose="020B0A04020102020204" pitchFamily="34" charset="0"/>
              </a:rPr>
              <a:t>'Percentage increase of victims participating in Restorative Justice Programme</a:t>
            </a:r>
          </a:p>
        </p:txBody>
      </p:sp>
    </p:spTree>
    <p:extLst>
      <p:ext uri="{BB962C8B-B14F-4D97-AF65-F5344CB8AC3E}">
        <p14:creationId xmlns:p14="http://schemas.microsoft.com/office/powerpoint/2010/main" val="2828957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231933" y="-5215264"/>
            <a:ext cx="1440000" cy="11870528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3103" y="0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>
              <a:spcAft>
                <a:spcPts val="600"/>
              </a:spcAft>
            </a:pPr>
            <a:r>
              <a:rPr lang="en-ZA" sz="2400" kern="0" dirty="0">
                <a:solidFill>
                  <a:schemeClr val="bg1"/>
                </a:solidFill>
                <a:latin typeface="Arial Black" panose="020B0A04020102020204" pitchFamily="34" charset="0"/>
              </a:rPr>
              <a:t>Percentage increase of offenders, parolees and probationers participating in Restorative Justice Programm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24509" y="1416746"/>
            <a:ext cx="8928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1. REGIONAL TARGET VERSUS PERFORMANCE FOR </a:t>
            </a:r>
            <a:r>
              <a:rPr lang="en-GB" sz="1800" b="1" kern="0" dirty="0" smtClean="0"/>
              <a:t>2</a:t>
            </a:r>
            <a:r>
              <a:rPr lang="en-GB" sz="1800" b="1" kern="0" baseline="30000" dirty="0" smtClean="0"/>
              <a:t>nd</a:t>
            </a:r>
            <a:r>
              <a:rPr lang="en-GB" sz="1800" b="1" kern="0" dirty="0" smtClean="0">
                <a:solidFill>
                  <a:prstClr val="black"/>
                </a:solidFill>
              </a:rPr>
              <a:t> QUARTER </a:t>
            </a:r>
            <a:r>
              <a:rPr lang="en-GB" sz="1800" b="1" kern="0" dirty="0">
                <a:solidFill>
                  <a:prstClr val="black"/>
                </a:solidFill>
              </a:rPr>
              <a:t>(2020/2021) 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02095" y="3232666"/>
            <a:ext cx="100584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2. 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MANAGEMENT AREA LEVEL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4567719"/>
              </p:ext>
            </p:extLst>
          </p:nvPr>
        </p:nvGraphicFramePr>
        <p:xfrm>
          <a:off x="228600" y="1828799"/>
          <a:ext cx="11658600" cy="1143001"/>
        </p:xfrm>
        <a:graphic>
          <a:graphicData uri="http://schemas.openxmlformats.org/drawingml/2006/table">
            <a:tbl>
              <a:tblPr firstRow="1" bandRow="1"/>
              <a:tblGrid>
                <a:gridCol w="1295400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72363429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971921"/>
                    </a:ext>
                  </a:extLst>
                </a:gridCol>
              </a:tblGrid>
              <a:tr h="304800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REGION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JULY</a:t>
                      </a:r>
                      <a:r>
                        <a:rPr lang="en-ZA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2020</a:t>
                      </a:r>
                      <a:br>
                        <a:rPr lang="en-ZA" sz="110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JULY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AUGUST</a:t>
                      </a:r>
                      <a:r>
                        <a:rPr lang="en-ZA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2020</a:t>
                      </a:r>
                      <a:br>
                        <a:rPr lang="en-ZA" sz="110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AUGUST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SEPTEMBER 2020 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SEPTEMBER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Q2 TARGET: 2020-2021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716281"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dirty="0" smtClean="0">
                          <a:solidFill>
                            <a:schemeClr val="tx1"/>
                          </a:solidFill>
                        </a:rPr>
                        <a:t>Kwa</a:t>
                      </a:r>
                      <a:r>
                        <a:rPr lang="en-ZA" baseline="0" dirty="0" smtClean="0">
                          <a:solidFill>
                            <a:schemeClr val="tx1"/>
                          </a:solidFill>
                        </a:rPr>
                        <a:t> Zulu Natal</a:t>
                      </a:r>
                      <a:endParaRPr lang="en-ZA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68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2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68</a:t>
                      </a:r>
                    </a:p>
                    <a:p>
                      <a:pPr algn="ctr"/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0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68</a:t>
                      </a:r>
                    </a:p>
                    <a:p>
                      <a:pPr algn="ctr"/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48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3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( -326/410)=</a:t>
                      </a:r>
                    </a:p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-79.51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216157"/>
              </p:ext>
            </p:extLst>
          </p:nvPr>
        </p:nvGraphicFramePr>
        <p:xfrm>
          <a:off x="192156" y="3810000"/>
          <a:ext cx="11695041" cy="1929336"/>
        </p:xfrm>
        <a:graphic>
          <a:graphicData uri="http://schemas.openxmlformats.org/drawingml/2006/table">
            <a:tbl>
              <a:tblPr firstRow="1" bandRow="1"/>
              <a:tblGrid>
                <a:gridCol w="1299449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299449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299449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299449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299449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299449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299449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  <a:gridCol w="1299449">
                  <a:extLst>
                    <a:ext uri="{9D8B030D-6E8A-4147-A177-3AD203B41FA5}">
                      <a16:colId xmlns="" xmlns:a16="http://schemas.microsoft.com/office/drawing/2014/main" val="2723634297"/>
                    </a:ext>
                  </a:extLst>
                </a:gridCol>
                <a:gridCol w="1299449">
                  <a:extLst>
                    <a:ext uri="{9D8B030D-6E8A-4147-A177-3AD203B41FA5}">
                      <a16:colId xmlns="" xmlns:a16="http://schemas.microsoft.com/office/drawing/2014/main" val="971921"/>
                    </a:ext>
                  </a:extLst>
                </a:gridCol>
              </a:tblGrid>
              <a:tr h="274320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JULY 2020</a:t>
                      </a:r>
                      <a:b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JULY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UGUST 2020</a:t>
                      </a:r>
                      <a:b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UGUST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SEPTEMBER 2020 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SEPTEMBER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: 2020-2021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375654">
                <a:tc>
                  <a:txBody>
                    <a:bodyPr/>
                    <a:lstStyle/>
                    <a:p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Durban</a:t>
                      </a:r>
                      <a:endParaRPr lang="en-ZA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3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3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3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39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7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Empangeni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9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9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1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9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0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57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30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Glencoe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7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7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7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1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Kokstad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5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5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5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7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45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7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38073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213712" y="-5197044"/>
            <a:ext cx="1440000" cy="11834087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3103" y="0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>
              <a:spcAft>
                <a:spcPts val="600"/>
              </a:spcAft>
            </a:pPr>
            <a:r>
              <a:rPr lang="en-ZA" sz="2400" kern="0" dirty="0">
                <a:solidFill>
                  <a:schemeClr val="bg1"/>
                </a:solidFill>
                <a:latin typeface="Arial Black" panose="020B0A04020102020204" pitchFamily="34" charset="0"/>
              </a:rPr>
              <a:t>Percentage increase of offenders, parolees and probationers participating in Restorative Justice Programm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92156" y="1905000"/>
            <a:ext cx="100584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2. 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MANAGEMENT AREA LEVEL (CONT…)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8011704"/>
              </p:ext>
            </p:extLst>
          </p:nvPr>
        </p:nvGraphicFramePr>
        <p:xfrm>
          <a:off x="192156" y="2590801"/>
          <a:ext cx="11658600" cy="2080365"/>
        </p:xfrm>
        <a:graphic>
          <a:graphicData uri="http://schemas.openxmlformats.org/drawingml/2006/table">
            <a:tbl>
              <a:tblPr firstRow="1" bandRow="1"/>
              <a:tblGrid>
                <a:gridCol w="1295400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72363429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971921"/>
                    </a:ext>
                  </a:extLst>
                </a:gridCol>
              </a:tblGrid>
              <a:tr h="1234857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JULY 2020</a:t>
                      </a:r>
                      <a:b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JULY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UGUST 2020</a:t>
                      </a:r>
                      <a:b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UGUST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SEPTEMBER 2020 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SEPTEMBER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: 2020-2021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281836">
                <a:tc>
                  <a:txBody>
                    <a:bodyPr/>
                    <a:lstStyle/>
                    <a:p>
                      <a:r>
                        <a:rPr lang="en-ZA" sz="1100" b="1" dirty="0" smtClean="0">
                          <a:solidFill>
                            <a:schemeClr val="tx1"/>
                          </a:solidFill>
                        </a:rPr>
                        <a:t>Ncome</a:t>
                      </a:r>
                      <a:endParaRPr lang="en-ZA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5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281836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PMBurg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7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7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3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8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7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281836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Waterval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7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9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7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49025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384334" y="-5367666"/>
            <a:ext cx="1440000" cy="12175331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0" y="1440000"/>
            <a:ext cx="11277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2. 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CORRECTIONAL CENTRE LEVEL </a:t>
            </a:r>
            <a:r>
              <a:rPr lang="en-GB" sz="1800" b="1" kern="0" dirty="0" smtClean="0"/>
              <a:t>MANAGEMENT AREA </a:t>
            </a:r>
            <a:endParaRPr lang="en-GB" sz="1800" b="1" kern="0" dirty="0" smtClean="0"/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/>
              <a:t> </a:t>
            </a:r>
            <a:r>
              <a:rPr lang="en-GB" sz="1800" b="1" kern="0" dirty="0" smtClean="0"/>
              <a:t>        </a:t>
            </a:r>
            <a:r>
              <a:rPr lang="en-GB" sz="1800" b="1" kern="0" dirty="0" smtClean="0"/>
              <a:t>TO </a:t>
            </a:r>
            <a:r>
              <a:rPr lang="en-GB" sz="1800" b="1" kern="0" dirty="0" smtClean="0"/>
              <a:t>POPULATE</a:t>
            </a:r>
            <a:endParaRPr lang="en-ZA" sz="1800" b="1" kern="0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3732731"/>
              </p:ext>
            </p:extLst>
          </p:nvPr>
        </p:nvGraphicFramePr>
        <p:xfrm>
          <a:off x="29372" y="2133599"/>
          <a:ext cx="12010229" cy="5391561"/>
        </p:xfrm>
        <a:graphic>
          <a:graphicData uri="http://schemas.openxmlformats.org/drawingml/2006/table">
            <a:tbl>
              <a:tblPr firstRow="1" bandRow="1"/>
              <a:tblGrid>
                <a:gridCol w="1570828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6002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6764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752600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905000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752600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752601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</a:tblGrid>
              <a:tr h="409165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 2020/21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UARTER 2</a:t>
                      </a:r>
                      <a:b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S THAT CONTRIBUTED TOWARDS UNDER-ACHIEVEMENT 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ASONS FOR UNDER</a:t>
                      </a:r>
                    </a:p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OOT CAUSES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SSOCIATED RISKS 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1193109">
                <a:tc>
                  <a:txBody>
                    <a:bodyPr/>
                    <a:lstStyle/>
                    <a:p>
                      <a:pPr algn="l"/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39/0 = 0.00%</a:t>
                      </a:r>
                      <a:endParaRPr lang="en-ZA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7/0 = 0.00%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Durban</a:t>
                      </a:r>
                      <a:endParaRPr lang="en-ZA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Restorative Justice Programme suspended due to Covid 19 Risk Adjusted Strategy (Suspension of visits to Correctional Centres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Suspension</a:t>
                      </a:r>
                      <a:r>
                        <a:rPr lang="en-ZA" sz="1000" baseline="0" dirty="0" smtClean="0">
                          <a:solidFill>
                            <a:schemeClr val="tx1"/>
                          </a:solidFill>
                        </a:rPr>
                        <a:t> of </a:t>
                      </a:r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Restorative Justice Programme due to Covid 19 Risk Adjusted Strategy (Suspension of visits to Correctional Centres</a:t>
                      </a:r>
                      <a:endParaRPr lang="en-US" sz="10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Goal  of effectively and efficiently reintegrating offenders in to communities  not realized and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</a:rPr>
                        <a:t>  lack of meaningful involvement of  victims  in restorative Justice  Programme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1193109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57/0 = 0.00%</a:t>
                      </a:r>
                      <a:endParaRPr lang="en-ZA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30/0 = 0.00%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Empangeni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Restorative Justice Programme suspended due to Covid 19 Risk Adjusted Strategy (Suspension of visits to Correctional Centres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smtClean="0">
                          <a:solidFill>
                            <a:schemeClr val="tx1"/>
                          </a:solidFill>
                        </a:rPr>
                        <a:t>Suspension</a:t>
                      </a:r>
                      <a:r>
                        <a:rPr lang="en-ZA" sz="1000" baseline="0" smtClean="0">
                          <a:solidFill>
                            <a:schemeClr val="tx1"/>
                          </a:solidFill>
                        </a:rPr>
                        <a:t> of </a:t>
                      </a:r>
                      <a:r>
                        <a:rPr lang="en-ZA" sz="1000" smtClean="0">
                          <a:solidFill>
                            <a:schemeClr val="tx1"/>
                          </a:solidFill>
                        </a:rPr>
                        <a:t>Restorative Justice Programme due to Covid 19 Risk Adjusted Strategy (Suspension of visits to Correctional Centres</a:t>
                      </a:r>
                      <a:endParaRPr lang="en-US" sz="10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Goal  of effectively and efficiently reintegrating offenders in to communities  not realized and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</a:rPr>
                        <a:t>  lack of meaningful involvement of  victims  in restorative Justice  Programme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1193109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21/0 = 0.00%</a:t>
                      </a:r>
                      <a:endParaRPr lang="en-ZA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2/0 = 0.00%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Glencoe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Restorative Justice Programme suspended due to Covid 19 Risk Adjusted Strategy (Suspension of visits to Correctional Centres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Suspension</a:t>
                      </a:r>
                      <a:r>
                        <a:rPr lang="en-ZA" sz="1000" baseline="0" dirty="0" smtClean="0">
                          <a:solidFill>
                            <a:schemeClr val="tx1"/>
                          </a:solidFill>
                        </a:rPr>
                        <a:t> of </a:t>
                      </a:r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Restorative Justice Programme due to Covid 19 Risk Adjusted Strategy (Suspension of visits to Correctional Centres</a:t>
                      </a:r>
                      <a:endParaRPr lang="en-US" sz="10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Goal  of effectively and efficiently reintegrating offenders in to communities  not realized and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</a:rPr>
                        <a:t>  lack of meaningful involvement of  victims  in restorative Justice  Programme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1193109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45/0 = 0.00%</a:t>
                      </a:r>
                      <a:endParaRPr lang="en-ZA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7/0 = 0.00%</a:t>
                      </a:r>
                    </a:p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Denominator to be included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Kokstad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Restorative Justice Programme suspended due to Covid 19 Risk Adjusted Strategy (Suspension of visits to Correctional Centres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Suspension</a:t>
                      </a:r>
                      <a:r>
                        <a:rPr lang="en-ZA" sz="1000" baseline="0" dirty="0" smtClean="0">
                          <a:solidFill>
                            <a:schemeClr val="tx1"/>
                          </a:solidFill>
                        </a:rPr>
                        <a:t> of </a:t>
                      </a:r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Restorative Justice Programme due to Covid 19 Risk Adjusted Strategy (Suspension of visits to Correctional Centres</a:t>
                      </a:r>
                      <a:endParaRPr lang="en-US" sz="10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Goal  of effectively and efficiently reintegrating offenders in to communities  not realized and</a:t>
                      </a: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</a:rPr>
                        <a:t>  lack of meaningful involvement of  victims  in restorative Justice  Programme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>
              <a:spcAft>
                <a:spcPts val="600"/>
              </a:spcAft>
            </a:pPr>
            <a:r>
              <a:rPr lang="en-ZA" sz="2400" kern="0" dirty="0">
                <a:solidFill>
                  <a:schemeClr val="bg1"/>
                </a:solidFill>
                <a:latin typeface="Arial Black" panose="020B0A04020102020204" pitchFamily="34" charset="0"/>
              </a:rPr>
              <a:t>Percentage increase of offenders, parolees and probationers participating in Restorative Justice Programme</a:t>
            </a:r>
          </a:p>
        </p:txBody>
      </p:sp>
    </p:spTree>
    <p:extLst>
      <p:ext uri="{BB962C8B-B14F-4D97-AF65-F5344CB8AC3E}">
        <p14:creationId xmlns:p14="http://schemas.microsoft.com/office/powerpoint/2010/main" val="2080503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384335" y="-5367667"/>
            <a:ext cx="1440000" cy="12175333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15900" y="1440000"/>
            <a:ext cx="110617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 smtClean="0">
                <a:solidFill>
                  <a:prstClr val="black"/>
                </a:solidFill>
              </a:rPr>
              <a:t>2</a:t>
            </a:r>
            <a:r>
              <a:rPr lang="en-GB" sz="1800" b="1" kern="0" dirty="0">
                <a:solidFill>
                  <a:prstClr val="black"/>
                </a:solidFill>
              </a:rPr>
              <a:t>. 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CORRECTIONAL CENTRE LEVEL </a:t>
            </a:r>
            <a:r>
              <a:rPr lang="en-GB" sz="1800" b="1" kern="0" dirty="0" smtClean="0"/>
              <a:t>MANAGEMENT AREA </a:t>
            </a:r>
            <a:r>
              <a:rPr lang="en-GB" sz="1800" b="1" kern="0" dirty="0" smtClean="0"/>
              <a:t> 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/>
              <a:t> </a:t>
            </a:r>
            <a:r>
              <a:rPr lang="en-GB" sz="1800" b="1" kern="0" dirty="0" smtClean="0"/>
              <a:t>  </a:t>
            </a:r>
            <a:r>
              <a:rPr lang="en-GB" sz="1800" b="1" kern="0" dirty="0" smtClean="0"/>
              <a:t>TO </a:t>
            </a:r>
            <a:r>
              <a:rPr lang="en-GB" sz="1800" b="1" kern="0" dirty="0" smtClean="0"/>
              <a:t>POPULATE</a:t>
            </a:r>
            <a:endParaRPr lang="en-ZA" sz="1800" b="1" kern="0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7479289"/>
              </p:ext>
            </p:extLst>
          </p:nvPr>
        </p:nvGraphicFramePr>
        <p:xfrm>
          <a:off x="29371" y="2086333"/>
          <a:ext cx="12010229" cy="5000268"/>
        </p:xfrm>
        <a:graphic>
          <a:graphicData uri="http://schemas.openxmlformats.org/drawingml/2006/table">
            <a:tbl>
              <a:tblPr firstRow="1" bandRow="1"/>
              <a:tblGrid>
                <a:gridCol w="1715747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715747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715747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715747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715747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715747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715747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</a:tblGrid>
              <a:tr h="62963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 2020/21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UARTER 2</a:t>
                      </a:r>
                      <a:b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S THAT CONTRIBUTED TOWARDS UNDER-ACHIEVEMENT 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ASONS FOR UNDER</a:t>
                      </a:r>
                    </a:p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OOT CAUSES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SSOCIATED RISKS 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1456878"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15/0 = 0.00%</a:t>
                      </a:r>
                    </a:p>
                    <a:p>
                      <a:endParaRPr lang="en-ZA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4/0 = 0.00%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Ncome</a:t>
                      </a:r>
                      <a:endParaRPr lang="en-ZA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Restorative Justice Programme suspended due to Covid 19 Risk Adjusted Strategy (Suspension of visits to Correctional Centr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Suspension</a:t>
                      </a:r>
                      <a:r>
                        <a:rPr lang="en-ZA" sz="1100" baseline="0" dirty="0" smtClean="0">
                          <a:solidFill>
                            <a:schemeClr val="tx1"/>
                          </a:solidFill>
                        </a:rPr>
                        <a:t> of </a:t>
                      </a:r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Restorative Justice Programme due to Covid 19 Risk Adjusted Strategy (Suspension of visits to Correctional Centres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Goal  of effectively and efficiently reintegrating offenders in to communities  not realized and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 lack of meaningful involvement of  victims  in restorative Justice  Programme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1456878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18/0 = 0.00%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27/0 = 0.00%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Pietermaritzburg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Restorative Justice Programme suspended due to Covid 19 Risk Adjusted Strategy (Suspension of visits to Correctional Centr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smtClean="0">
                          <a:solidFill>
                            <a:schemeClr val="tx1"/>
                          </a:solidFill>
                        </a:rPr>
                        <a:t>Suspension</a:t>
                      </a:r>
                      <a:r>
                        <a:rPr lang="en-ZA" sz="1100" baseline="0" smtClean="0">
                          <a:solidFill>
                            <a:schemeClr val="tx1"/>
                          </a:solidFill>
                        </a:rPr>
                        <a:t> of </a:t>
                      </a:r>
                      <a:r>
                        <a:rPr lang="en-ZA" sz="1100" smtClean="0">
                          <a:solidFill>
                            <a:schemeClr val="tx1"/>
                          </a:solidFill>
                        </a:rPr>
                        <a:t>Restorative Justice Programme due to Covid 19 Risk Adjusted Strategy (Suspension of visits to Correctional Centres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Goal  of effectively and efficiently reintegrating offenders in to communities  not realized and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 lack of meaningful involvement of  victims  in restorative Justice  Programme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1456878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9/0 = 0.00%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7/0 = 0.00%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Waterval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Restorative Justice Programme suspended due to Covid 19 Risk Adjusted Strategy (Suspension of visits to Correctional Centr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Suspension</a:t>
                      </a:r>
                      <a:r>
                        <a:rPr lang="en-ZA" sz="1100" baseline="0" dirty="0" smtClean="0">
                          <a:solidFill>
                            <a:schemeClr val="tx1"/>
                          </a:solidFill>
                        </a:rPr>
                        <a:t> of </a:t>
                      </a:r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Restorative Justice Programme due to Covid 19 Risk Adjusted Strategy (Suspension of visits to Correctional Centres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Goal  of effectively and efficiently reintegrating offenders in to communities  not realized and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 lack of meaningful involvement of  victims  in restorative Justice  Programme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>
              <a:spcAft>
                <a:spcPts val="600"/>
              </a:spcAft>
            </a:pPr>
            <a:r>
              <a:rPr lang="en-ZA" sz="2400" kern="0" dirty="0">
                <a:solidFill>
                  <a:schemeClr val="bg1"/>
                </a:solidFill>
                <a:latin typeface="Arial Black" panose="020B0A04020102020204" pitchFamily="34" charset="0"/>
              </a:rPr>
              <a:t>Percentage increase of offenders, parolees and probationers participating in Restorative Justice Programme</a:t>
            </a:r>
          </a:p>
        </p:txBody>
      </p:sp>
    </p:spTree>
    <p:extLst>
      <p:ext uri="{BB962C8B-B14F-4D97-AF65-F5344CB8AC3E}">
        <p14:creationId xmlns:p14="http://schemas.microsoft.com/office/powerpoint/2010/main" val="2080503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532834" y="-5439966"/>
            <a:ext cx="1143000" cy="1217533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228600" y="1143000"/>
            <a:ext cx="11582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</a:t>
            </a:r>
            <a:r>
              <a:rPr lang="en-GB" sz="1800" b="1" kern="0" dirty="0" smtClean="0">
                <a:solidFill>
                  <a:prstClr val="black"/>
                </a:solidFill>
              </a:rPr>
              <a:t>4. PROJECT PLAN TO ADDRESS UNDER PERFORMANCE </a:t>
            </a:r>
            <a:r>
              <a:rPr lang="en-GB" sz="1800" b="1" kern="0" dirty="0" smtClean="0"/>
              <a:t>MANAGEMENT AREA TO POPULATE</a:t>
            </a:r>
            <a:endParaRPr lang="en-ZA" sz="1800" b="1" kern="0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/>
          </p:nvPr>
        </p:nvGraphicFramePr>
        <p:xfrm>
          <a:off x="29370" y="1512332"/>
          <a:ext cx="12162629" cy="5833348"/>
        </p:xfrm>
        <a:graphic>
          <a:graphicData uri="http://schemas.openxmlformats.org/drawingml/2006/table">
            <a:tbl>
              <a:tblPr firstRow="1" bandRow="1"/>
              <a:tblGrid>
                <a:gridCol w="2016064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2029313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942716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2115910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2029313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2029313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</a:tblGrid>
              <a:tr h="61594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CTIVITY / ACTIVITIES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SPONSIBILITY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IME FRAM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ROGRESS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1304351">
                <a:tc>
                  <a:txBody>
                    <a:bodyPr/>
                    <a:lstStyle/>
                    <a:p>
                      <a:r>
                        <a:rPr lang="en-ZA" sz="1000" dirty="0" smtClean="0">
                          <a:solidFill>
                            <a:schemeClr val="tx1"/>
                          </a:solidFill>
                        </a:rPr>
                        <a:t>Durban</a:t>
                      </a:r>
                      <a:endParaRPr lang="en-ZA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Formulate VOD Forums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in each centre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Develop a tracing unit within the management area 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Encourage offenders to participate in VOD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rea Commissioner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and Area Coordinator Correction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October 2020 and ongoing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Formulate d VOD Forums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in each centre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Developed a tracing unit within the management area 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Encouraged offenders to participate in VOD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1304351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Empangeni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Formulate VOD Forums</a:t>
                      </a:r>
                      <a:r>
                        <a:rPr lang="en-US" sz="1100" baseline="0" smtClean="0">
                          <a:solidFill>
                            <a:schemeClr val="tx1"/>
                          </a:solidFill>
                        </a:rPr>
                        <a:t> in each centre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baseline="0" smtClean="0">
                          <a:solidFill>
                            <a:schemeClr val="tx1"/>
                          </a:solidFill>
                        </a:rPr>
                        <a:t>Develop a tracing unit within the management area 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baseline="0" smtClean="0">
                          <a:solidFill>
                            <a:schemeClr val="tx1"/>
                          </a:solidFill>
                        </a:rPr>
                        <a:t>Encourage offenders to participate in VOD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Area Commissioner</a:t>
                      </a:r>
                      <a:r>
                        <a:rPr lang="en-US" sz="1100" baseline="0" smtClean="0">
                          <a:solidFill>
                            <a:schemeClr val="tx1"/>
                          </a:solidFill>
                        </a:rPr>
                        <a:t> and Area Coordinator Correction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October 2020 and ongoing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Formulate d VOD Forums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in each centre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Developed a tracing unit within the management area 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Encouraged offenders to participate in VOD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1304351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Glencoe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Formulate VOD Forums</a:t>
                      </a:r>
                      <a:r>
                        <a:rPr lang="en-US" sz="1100" baseline="0" smtClean="0">
                          <a:solidFill>
                            <a:schemeClr val="tx1"/>
                          </a:solidFill>
                        </a:rPr>
                        <a:t> in each centre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baseline="0" smtClean="0">
                          <a:solidFill>
                            <a:schemeClr val="tx1"/>
                          </a:solidFill>
                        </a:rPr>
                        <a:t>Develop a tracing unit within the management area 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baseline="0" smtClean="0">
                          <a:solidFill>
                            <a:schemeClr val="tx1"/>
                          </a:solidFill>
                        </a:rPr>
                        <a:t>Encourage offenders to participate in VOD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rea Commissioner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and Area Coordinator Correction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October 2020 and ongoing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Formulate d VOD Forums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in each centre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Developed a tracing unit within the management area 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Encouraged offenders to participate in VOD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1304351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</a:rPr>
                        <a:t>Kokstad</a:t>
                      </a:r>
                      <a:endParaRPr 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Formulate VOD Forums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in each centre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Develop a tracing unit within the management area 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Encourage offenders to participate in VOD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rea Commissioner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and Area Coordinator Correction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October 2020 and ongoing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Formulate d VOD Forums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in each centre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Developed a tracing unit within the management area 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Encouraged offenders to participate in VOD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2400" kern="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PLAN TO ADDRESS UNDER PERFORMANCE:</a:t>
            </a:r>
          </a:p>
          <a:p>
            <a:pPr>
              <a:spcAft>
                <a:spcPts val="600"/>
              </a:spcAft>
            </a:pPr>
            <a:r>
              <a:rPr lang="en-ZA" sz="1800" kern="0" dirty="0">
                <a:solidFill>
                  <a:srgbClr val="FFFFFF"/>
                </a:solidFill>
                <a:latin typeface="Arial Black" panose="020B0A04020102020204" pitchFamily="34" charset="0"/>
              </a:rPr>
              <a:t>Percentage increase of offenders, parolees and probationers participating in Restorative Justice Programme</a:t>
            </a:r>
          </a:p>
        </p:txBody>
      </p:sp>
    </p:spTree>
    <p:extLst>
      <p:ext uri="{BB962C8B-B14F-4D97-AF65-F5344CB8AC3E}">
        <p14:creationId xmlns:p14="http://schemas.microsoft.com/office/powerpoint/2010/main" val="4134943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384334" y="-5367666"/>
            <a:ext cx="1440000" cy="12175331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228600" y="1673596"/>
            <a:ext cx="11582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/>
              <a:t>     </a:t>
            </a:r>
            <a:r>
              <a:rPr lang="en-GB" sz="1800" b="1" kern="0" dirty="0" smtClean="0"/>
              <a:t>4. PROJECT PLAN TO ADDRESS UNDER PERFORMANCE MANAGEMENT AREA TO POPULATE</a:t>
            </a:r>
            <a:endParaRPr lang="en-ZA" sz="1800" b="1" kern="0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/>
          </p:nvPr>
        </p:nvGraphicFramePr>
        <p:xfrm>
          <a:off x="215900" y="2042928"/>
          <a:ext cx="11671302" cy="4510271"/>
        </p:xfrm>
        <a:graphic>
          <a:graphicData uri="http://schemas.openxmlformats.org/drawingml/2006/table">
            <a:tbl>
              <a:tblPr firstRow="1" bandRow="1"/>
              <a:tblGrid>
                <a:gridCol w="1945217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</a:tblGrid>
              <a:tr h="613397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CTIVITY / ACTIVITIES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SPONSIBILITY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IME FRAM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ROGRESS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1298958">
                <a:tc>
                  <a:txBody>
                    <a:bodyPr/>
                    <a:lstStyle/>
                    <a:p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Ncome</a:t>
                      </a:r>
                      <a:endParaRPr lang="en-ZA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Formulate VOD Forums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in each centre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Develop a tracing unit within the management area 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Encourage offenders to participate in VOD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rea Commissioner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and Area Coordinator Correction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October 2020 and ongoing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Formulate d VOD Forums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in each centre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Developed a tracing unit within the management area 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Encouraged offenders to participate in VOD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1298958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Pietermaritzburg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Formulate VOD Forums</a:t>
                      </a:r>
                      <a:r>
                        <a:rPr lang="en-US" sz="1100" baseline="0" smtClean="0">
                          <a:solidFill>
                            <a:schemeClr val="tx1"/>
                          </a:solidFill>
                        </a:rPr>
                        <a:t> in each centre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baseline="0" smtClean="0">
                          <a:solidFill>
                            <a:schemeClr val="tx1"/>
                          </a:solidFill>
                        </a:rPr>
                        <a:t>Develop a tracing unit within the management area 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baseline="0" smtClean="0">
                          <a:solidFill>
                            <a:schemeClr val="tx1"/>
                          </a:solidFill>
                        </a:rPr>
                        <a:t>Encourage offenders to participate in VOD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Area Commissioner</a:t>
                      </a:r>
                      <a:r>
                        <a:rPr lang="en-US" sz="1100" baseline="0" smtClean="0">
                          <a:solidFill>
                            <a:schemeClr val="tx1"/>
                          </a:solidFill>
                        </a:rPr>
                        <a:t> and Area Coordinator Correction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October 2020 and ongoing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Formulate d VOD Forums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in each centre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Developed a tracing unit within the management area 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Encouraged offenders to participate in VOD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1298958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Waterval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ll Correctional Centre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Formulate VOD Forums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in each centre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Develop a tracing unit within the management area 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Encourage offenders to participate in VOD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rea Commissioner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and Area Coordinator Correction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October 2020 and ongoing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Formulate d VOD Forums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in each centre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Developed a tracing unit within the management area 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Encouraged offenders to participate in VOD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PLAN TO ADDRESS UNDER PERFORMANCE:</a:t>
            </a:r>
          </a:p>
          <a:p>
            <a:pPr>
              <a:spcAft>
                <a:spcPts val="600"/>
              </a:spcAft>
            </a:pPr>
            <a:r>
              <a:rPr lang="en-ZA" sz="2400" kern="0" dirty="0">
                <a:solidFill>
                  <a:srgbClr val="FFFFFF"/>
                </a:solidFill>
                <a:latin typeface="Arial Black" panose="020B0A04020102020204" pitchFamily="34" charset="0"/>
              </a:rPr>
              <a:t>Percentage increase of offenders, parolees and probationers participating in Restorative Justice Programme</a:t>
            </a:r>
          </a:p>
        </p:txBody>
      </p:sp>
    </p:spTree>
    <p:extLst>
      <p:ext uri="{BB962C8B-B14F-4D97-AF65-F5344CB8AC3E}">
        <p14:creationId xmlns:p14="http://schemas.microsoft.com/office/powerpoint/2010/main" val="4134943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Slide1 Template_1.2_back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5400"/>
            <a:ext cx="12192000" cy="68580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758529" y="271596"/>
            <a:ext cx="4522887" cy="7078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4000" dirty="0">
                <a:solidFill>
                  <a:prstClr val="white"/>
                </a:solidFill>
                <a:latin typeface="Calibri"/>
                <a:cs typeface="Arial Black"/>
              </a:rPr>
              <a:t>Thank You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603500" y="423997"/>
            <a:ext cx="633817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ZA" sz="2000" b="1" dirty="0">
                <a:solidFill>
                  <a:srgbClr val="005300"/>
                </a:solidFill>
                <a:latin typeface="Calibri"/>
                <a:cs typeface="Arial Black"/>
              </a:rPr>
              <a:t>THANK YOU</a:t>
            </a:r>
          </a:p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ZA" sz="2000" b="1" dirty="0">
              <a:solidFill>
                <a:srgbClr val="005300"/>
              </a:solidFill>
              <a:latin typeface="Calibri"/>
              <a:cs typeface="Arial Black"/>
            </a:endParaRPr>
          </a:p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ZA" sz="2000" b="1" dirty="0">
                <a:solidFill>
                  <a:srgbClr val="005300"/>
                </a:solidFill>
                <a:latin typeface="Calibri"/>
                <a:cs typeface="Arial Black"/>
              </a:rPr>
              <a:t>STRIVING FOR A SOUTH AFRICA IN WHICH PEOPLE ARE AND FEEL SAFE</a:t>
            </a:r>
          </a:p>
        </p:txBody>
      </p:sp>
    </p:spTree>
    <p:extLst>
      <p:ext uri="{BB962C8B-B14F-4D97-AF65-F5344CB8AC3E}">
        <p14:creationId xmlns:p14="http://schemas.microsoft.com/office/powerpoint/2010/main" val="1165404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078864" y="-5182736"/>
            <a:ext cx="1663700" cy="12029172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3103" y="0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>
              <a:spcAft>
                <a:spcPts val="600"/>
              </a:spcAft>
            </a:pPr>
            <a:r>
              <a:rPr lang="en-ZA" sz="2400" kern="0" dirty="0">
                <a:solidFill>
                  <a:schemeClr val="bg1"/>
                </a:solidFill>
                <a:latin typeface="Arial Black" panose="020B0A04020102020204" pitchFamily="34" charset="0"/>
              </a:rPr>
              <a:t>Percentage of inmates injured as a result of reported assaults in Correctional Facilities </a:t>
            </a:r>
            <a:endParaRPr lang="en-ZA" sz="3200" kern="0" dirty="0" smtClean="0">
              <a:solidFill>
                <a:schemeClr val="bg1"/>
              </a:solidFill>
              <a:latin typeface="Arial Black" panose="020B0A04020102020204" pitchFamily="34" charset="0"/>
            </a:endParaRPr>
          </a:p>
          <a:p>
            <a:endParaRPr lang="en-GB" sz="3200" kern="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03200" y="1663700"/>
            <a:ext cx="8928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1. REGIONAL TARGET VERSUS PERFORMANCE FOR </a:t>
            </a:r>
            <a:r>
              <a:rPr lang="en-GB" sz="1800" b="1" kern="0" dirty="0" smtClean="0">
                <a:solidFill>
                  <a:prstClr val="black"/>
                </a:solidFill>
              </a:rPr>
              <a:t>2</a:t>
            </a:r>
            <a:r>
              <a:rPr lang="en-GB" sz="1800" b="1" kern="0" baseline="30000" dirty="0" smtClean="0">
                <a:solidFill>
                  <a:prstClr val="black"/>
                </a:solidFill>
              </a:rPr>
              <a:t>nd</a:t>
            </a:r>
            <a:r>
              <a:rPr lang="en-GB" sz="1800" b="1" kern="0" dirty="0" smtClean="0">
                <a:solidFill>
                  <a:prstClr val="black"/>
                </a:solidFill>
              </a:rPr>
              <a:t> QUARTER </a:t>
            </a:r>
            <a:r>
              <a:rPr lang="en-GB" sz="1800" b="1" kern="0" dirty="0">
                <a:solidFill>
                  <a:prstClr val="black"/>
                </a:solidFill>
              </a:rPr>
              <a:t>(2020/2021) 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103872" y="4105155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2. 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MANAGEMENT AREA LEVEL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9786689"/>
              </p:ext>
            </p:extLst>
          </p:nvPr>
        </p:nvGraphicFramePr>
        <p:xfrm>
          <a:off x="266700" y="2058644"/>
          <a:ext cx="11658600" cy="1066800"/>
        </p:xfrm>
        <a:graphic>
          <a:graphicData uri="http://schemas.openxmlformats.org/drawingml/2006/table">
            <a:tbl>
              <a:tblPr firstRow="1" bandRow="1"/>
              <a:tblGrid>
                <a:gridCol w="1295400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72363429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971921"/>
                    </a:ext>
                  </a:extLst>
                </a:gridCol>
              </a:tblGrid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REGION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JULY</a:t>
                      </a:r>
                      <a:r>
                        <a:rPr lang="en-ZA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2020</a:t>
                      </a:r>
                      <a:br>
                        <a:rPr lang="en-ZA" sz="110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JULY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AUGUST</a:t>
                      </a:r>
                      <a:r>
                        <a:rPr lang="en-ZA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2020</a:t>
                      </a:r>
                      <a:br>
                        <a:rPr lang="en-ZA" sz="110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AUGUST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SEPTEMBER 2020 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SEPTEMBER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Q2 TARGET: 2020-2021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375654">
                <a:tc>
                  <a:txBody>
                    <a:bodyPr/>
                    <a:lstStyle/>
                    <a:p>
                      <a:r>
                        <a:rPr lang="en-ZA" dirty="0" smtClean="0">
                          <a:solidFill>
                            <a:schemeClr val="tx1"/>
                          </a:solidFill>
                        </a:rPr>
                        <a:t>Kwa</a:t>
                      </a:r>
                      <a:r>
                        <a:rPr lang="en-ZA" baseline="0" dirty="0" smtClean="0">
                          <a:solidFill>
                            <a:schemeClr val="tx1"/>
                          </a:solidFill>
                        </a:rPr>
                        <a:t> Zulu Natal</a:t>
                      </a:r>
                      <a:endParaRPr lang="en-ZA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392/25120 = 1.56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%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305/22173 = 1.38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495/25120 = 1.97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455/21851 = 2.08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593/25120 = 2.36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537/22009 = 2.44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.33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537/22009 = 2.44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7960662"/>
              </p:ext>
            </p:extLst>
          </p:nvPr>
        </p:nvGraphicFramePr>
        <p:xfrm>
          <a:off x="228600" y="4571999"/>
          <a:ext cx="11658600" cy="1828799"/>
        </p:xfrm>
        <a:graphic>
          <a:graphicData uri="http://schemas.openxmlformats.org/drawingml/2006/table">
            <a:tbl>
              <a:tblPr firstRow="1" bandRow="1"/>
              <a:tblGrid>
                <a:gridCol w="1295400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72363429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971921"/>
                    </a:ext>
                  </a:extLst>
                </a:gridCol>
              </a:tblGrid>
              <a:tr h="471300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JULY 2020</a:t>
                      </a:r>
                      <a:b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JULY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UGUST 2020</a:t>
                      </a:r>
                      <a:b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UGUST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SEPTEMBER 2020 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SEPTEMBER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: 2020-2021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471300">
                <a:tc>
                  <a:txBody>
                    <a:bodyPr/>
                    <a:lstStyle/>
                    <a:p>
                      <a:r>
                        <a:rPr lang="en-ZA" sz="1100" b="1" dirty="0" smtClean="0">
                          <a:solidFill>
                            <a:schemeClr val="tx1"/>
                          </a:solidFill>
                        </a:rPr>
                        <a:t>Durban</a:t>
                      </a:r>
                      <a:endParaRPr lang="en-ZA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24/7884 = 1.57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77/7608 = 2.33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55/7884 = 1.97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47/1620 = 2.90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86/7884 = 2.36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318/7163 = 1.44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186/7884 = 2.36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318/7163 = 1.44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471300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Glencoe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32/2106 = 1.52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7/1651 = 1.64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68/7381 = 3.63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45/2230 = 2.02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49/2106 = 2.33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48/2252 = 2.34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49/2106 = 2.33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48/2252 = 2.34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414899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Waterval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36/2230 = 1.61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24/1716 = 1.40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41/2106 = 1.95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46/1762 </a:t>
                      </a:r>
                      <a:r>
                        <a:rPr lang="en-US" sz="1100" b="1" baseline="0" dirty="0" smtClean="0">
                          <a:solidFill>
                            <a:schemeClr val="tx1"/>
                          </a:solidFill>
                        </a:rPr>
                        <a:t> = 2.61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54/2230 = 2.42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50/1800 = 2.78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54/2230 = 2.42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50/1800 = 2.78%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90066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532834" y="-5516166"/>
            <a:ext cx="1143000" cy="12175331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9369" y="1143000"/>
            <a:ext cx="117054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 smtClean="0">
                <a:solidFill>
                  <a:prstClr val="black"/>
                </a:solidFill>
              </a:rPr>
              <a:t>3. </a:t>
            </a:r>
            <a:r>
              <a:rPr lang="en-GB" sz="1800" b="1" kern="0" dirty="0"/>
              <a:t>SOURCE OF </a:t>
            </a:r>
            <a:r>
              <a:rPr lang="en-GB" sz="1800" b="1" kern="0" dirty="0" smtClean="0"/>
              <a:t>UNDER-ACHIEVEMENT AT CORRECTIONAL CENTRE LEVEL MANAGEMENT AREA TO POPULATE</a:t>
            </a:r>
            <a:endParaRPr lang="en-ZA" sz="1800" b="1" kern="0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1484203"/>
              </p:ext>
            </p:extLst>
          </p:nvPr>
        </p:nvGraphicFramePr>
        <p:xfrm>
          <a:off x="29369" y="1789331"/>
          <a:ext cx="12191998" cy="5572125"/>
        </p:xfrm>
        <a:graphic>
          <a:graphicData uri="http://schemas.openxmlformats.org/drawingml/2006/table">
            <a:tbl>
              <a:tblPr firstRow="1" bandRow="1"/>
              <a:tblGrid>
                <a:gridCol w="1494631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6764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524000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2971800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488053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741714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</a:tblGrid>
              <a:tr h="763698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 </a:t>
                      </a: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2020/21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UARTER 2</a:t>
                      </a:r>
                      <a:b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S THAT CONTRIBUTED TOWARDS UNDER-ACHIEVEMENT 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ASONS FOR UNDER</a:t>
                      </a:r>
                    </a:p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OOT CAUSES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SSOCIATED RISKS 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94434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186/7884 = 2.36%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318/7163 = 1.44%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100" b="1" dirty="0" smtClean="0">
                          <a:solidFill>
                            <a:schemeClr val="tx1"/>
                          </a:solidFill>
                        </a:rPr>
                        <a:t>Durban</a:t>
                      </a:r>
                      <a:endParaRPr lang="en-ZA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1. Remand Detention  Facility</a:t>
                      </a:r>
                      <a:endParaRPr lang="en-US" sz="1100" b="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l"/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</a:rPr>
                        <a:t>2. Maximum</a:t>
                      </a:r>
                      <a:endParaRPr lang="en-US" sz="110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Offenders were under lot of stress during lockdown and they tend to become irritable with each other. 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Suspension of visits  caused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the anxiety 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Uncertainty about if hey will survive Covid - 19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Covid 19 Risk Adjusted Strategy Regulation are not relaxed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chemeClr val="accent4"/>
                          </a:solidFill>
                        </a:rPr>
                        <a:t>Mass riot between gang members, 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chemeClr val="accent4"/>
                          </a:solidFill>
                        </a:rPr>
                        <a:t>Escapes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chemeClr val="accent4"/>
                          </a:solidFill>
                        </a:rPr>
                        <a:t>Unnatural deaths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1223203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49/2106 = 2.33%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48/2252 = 2.34%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Glencoe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Glencoe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Escourt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During the month of August 2020 gang related violent activities were rife emanating from the death of an offender at Glencoe Correctional Centre. 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Movement of offenders from bigger centres</a:t>
                      </a:r>
                      <a:r>
                        <a:rPr lang="en-ZA" sz="1100" baseline="0" dirty="0" smtClean="0">
                          <a:solidFill>
                            <a:schemeClr val="tx1"/>
                          </a:solidFill>
                        </a:rPr>
                        <a:t> also contributed to the increase in gang related violent incidents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100" dirty="0" smtClean="0">
                          <a:solidFill>
                            <a:schemeClr val="tx1"/>
                          </a:solidFill>
                        </a:rPr>
                        <a:t>Covid 19 Risk Adjusted Strategy Regulation are not relaxed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chemeClr val="accent4"/>
                          </a:solidFill>
                        </a:rPr>
                        <a:t>Mass riot between gang members, 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chemeClr val="accent4"/>
                          </a:solidFill>
                        </a:rPr>
                        <a:t>Escapes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chemeClr val="accent4"/>
                          </a:solidFill>
                        </a:rPr>
                        <a:t>Unnatural deaths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1973682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54/2230 = 2.42%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50/1800 = 2.78%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Waterval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accent4"/>
                          </a:solidFill>
                        </a:rPr>
                        <a:t>1. Waterval</a:t>
                      </a:r>
                      <a:r>
                        <a:rPr lang="en-US" sz="1100" baseline="0" dirty="0" smtClean="0">
                          <a:solidFill>
                            <a:schemeClr val="accent4"/>
                          </a:solidFill>
                        </a:rPr>
                        <a:t> med. A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solidFill>
                          <a:schemeClr val="accent4"/>
                        </a:solidFill>
                      </a:endParaRP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accent4"/>
                          </a:solidFill>
                        </a:rPr>
                        <a:t>2. Waterval</a:t>
                      </a:r>
                      <a:r>
                        <a:rPr lang="en-US" sz="1100" baseline="0" dirty="0" smtClean="0">
                          <a:solidFill>
                            <a:schemeClr val="accent4"/>
                          </a:solidFill>
                        </a:rPr>
                        <a:t> med. B</a:t>
                      </a:r>
                      <a:endParaRPr lang="en-US" sz="1100" dirty="0" smtClean="0">
                        <a:solidFill>
                          <a:schemeClr val="accent4"/>
                        </a:solidFill>
                      </a:endParaRPr>
                    </a:p>
                    <a:p>
                      <a:pPr algn="l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accent4"/>
                          </a:solidFill>
                        </a:rPr>
                        <a:t>Movement of offenders from bigger centres to Farm correctional centres triggered</a:t>
                      </a:r>
                      <a:r>
                        <a:rPr lang="en-US" sz="1100" baseline="0" dirty="0" smtClean="0">
                          <a:solidFill>
                            <a:schemeClr val="accent4"/>
                          </a:solidFill>
                        </a:rPr>
                        <a:t> gangsterism</a:t>
                      </a:r>
                      <a:endParaRPr lang="en-US" sz="1100" dirty="0" smtClean="0">
                        <a:solidFill>
                          <a:schemeClr val="accent4"/>
                        </a:solidFill>
                      </a:endParaRP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accent4"/>
                          </a:solidFill>
                        </a:rPr>
                        <a:t>Gang  related assaults amongst sentenced offenders and remand detainees.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accent4"/>
                          </a:solidFill>
                        </a:rPr>
                        <a:t>Some offenders are still active and practicing gangsterism despite  the fact that gang management strategy has been implemented. During</a:t>
                      </a:r>
                      <a:r>
                        <a:rPr lang="en-US" sz="1100" baseline="0" dirty="0" smtClean="0">
                          <a:solidFill>
                            <a:schemeClr val="accent4"/>
                          </a:solidFill>
                        </a:rPr>
                        <a:t>  level five Covid -19 regulation period offenders were frustrated because of tobacco unavailability.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chemeClr val="accent4"/>
                          </a:solidFill>
                        </a:rPr>
                        <a:t>Mass riot between gang members, 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chemeClr val="accent4"/>
                          </a:solidFill>
                        </a:rPr>
                        <a:t>Escapes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chemeClr val="accent4"/>
                          </a:solidFill>
                        </a:rPr>
                        <a:t>Unnatural deaths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24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>
              <a:spcAft>
                <a:spcPts val="600"/>
              </a:spcAft>
            </a:pPr>
            <a:r>
              <a:rPr lang="en-ZA" kern="0" dirty="0">
                <a:solidFill>
                  <a:schemeClr val="bg1"/>
                </a:solidFill>
                <a:latin typeface="Arial Black" panose="020B0A04020102020204" pitchFamily="34" charset="0"/>
              </a:rPr>
              <a:t>Percentage of inmates injured as a result of reported assaults in Correctional Facilities </a:t>
            </a:r>
          </a:p>
          <a:p>
            <a:endParaRPr lang="en-GB" sz="3200" kern="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9572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231935" y="-5215267"/>
            <a:ext cx="1440000" cy="11870533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228600" y="1440000"/>
            <a:ext cx="12039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 smtClean="0">
                <a:solidFill>
                  <a:prstClr val="black"/>
                </a:solidFill>
              </a:rPr>
              <a:t>     4. DURBAN PROJECT PLAN TO ADDRESS UNDER PERFORMANCE – </a:t>
            </a:r>
            <a:r>
              <a:rPr lang="en-GB" sz="1800" b="1" kern="0" dirty="0" smtClean="0"/>
              <a:t>MANAGEMENT AREA TO </a:t>
            </a:r>
            <a:endParaRPr lang="en-GB" sz="1800" b="1" kern="0" dirty="0" smtClean="0"/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/>
              <a:t> </a:t>
            </a:r>
            <a:r>
              <a:rPr lang="en-GB" sz="1800" b="1" kern="0" dirty="0" smtClean="0"/>
              <a:t>        </a:t>
            </a:r>
            <a:r>
              <a:rPr lang="en-GB" sz="1800" b="1" kern="0" dirty="0" smtClean="0"/>
              <a:t>POPULATE</a:t>
            </a:r>
            <a:endParaRPr lang="en-ZA" sz="1800" b="1" kern="0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5766876"/>
              </p:ext>
            </p:extLst>
          </p:nvPr>
        </p:nvGraphicFramePr>
        <p:xfrm>
          <a:off x="215900" y="2181438"/>
          <a:ext cx="11671302" cy="4143162"/>
        </p:xfrm>
        <a:graphic>
          <a:graphicData uri="http://schemas.openxmlformats.org/drawingml/2006/table">
            <a:tbl>
              <a:tblPr firstRow="1" bandRow="1"/>
              <a:tblGrid>
                <a:gridCol w="1945217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496483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28194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519768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</a:tblGrid>
              <a:tr h="55026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CTIVITY / ACTIVITIES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SPONSIBILITY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IME FRAM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ROGRESS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3592898">
                <a:tc>
                  <a:txBody>
                    <a:bodyPr/>
                    <a:lstStyle/>
                    <a:p>
                      <a:r>
                        <a:rPr lang="en-ZA" sz="1100" b="1" dirty="0" smtClean="0">
                          <a:solidFill>
                            <a:schemeClr val="tx1"/>
                          </a:solidFill>
                        </a:rPr>
                        <a:t>Durban</a:t>
                      </a:r>
                      <a:endParaRPr lang="en-ZA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1. Remand Detention  Facility</a:t>
                      </a:r>
                      <a:endParaRPr lang="en-US" sz="1100" b="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l"/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</a:rPr>
                        <a:t>2. Maximum</a:t>
                      </a:r>
                      <a:endParaRPr lang="en-US" sz="110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lvl="0"/>
                      <a:r>
                        <a:rPr lang="en-ZA" sz="1200" kern="1200" dirty="0" smtClean="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rPr>
                        <a:t>Resensitize officials on the implementation of the Anti Gang Strategy.</a:t>
                      </a:r>
                    </a:p>
                    <a:p>
                      <a:pPr lvl="0"/>
                      <a:r>
                        <a:rPr lang="en-ZA" sz="1200" kern="1200" dirty="0" smtClean="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rPr>
                        <a:t>Identify hotspots (sections) where assaults are rife.</a:t>
                      </a:r>
                    </a:p>
                    <a:p>
                      <a:pPr lvl="0"/>
                      <a:r>
                        <a:rPr lang="en-ZA" sz="1200" kern="1200" dirty="0" smtClean="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rPr>
                        <a:t>Control the movement of offenders during feeding.  (feeding in batches of groups)</a:t>
                      </a:r>
                    </a:p>
                    <a:p>
                      <a:pPr lvl="0"/>
                      <a:r>
                        <a:rPr lang="en-ZA" sz="1200" kern="1200" dirty="0" smtClean="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rPr>
                        <a:t>Placement of food trolleys closer to cells being fed to minimise distance to be travelled.</a:t>
                      </a:r>
                    </a:p>
                    <a:p>
                      <a:pPr lvl="0"/>
                      <a:r>
                        <a:rPr lang="en-ZA" sz="1200" kern="1200" dirty="0" smtClean="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rPr>
                        <a:t>Combine available sections (officials present) to beef up security in the sections.</a:t>
                      </a:r>
                    </a:p>
                    <a:p>
                      <a:pPr lvl="0"/>
                      <a:r>
                        <a:rPr lang="en-ZA" sz="1200" kern="1200" dirty="0" smtClean="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rPr>
                        <a:t>Control and separate foreign nationals.</a:t>
                      </a:r>
                    </a:p>
                    <a:p>
                      <a:pPr lvl="0"/>
                      <a:r>
                        <a:rPr lang="en-ZA" sz="1200" kern="1200" dirty="0" smtClean="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rPr>
                        <a:t>Increase surprise searching of cells</a:t>
                      </a:r>
                    </a:p>
                    <a:p>
                      <a:pPr lvl="0"/>
                      <a:r>
                        <a:rPr lang="en-ZA" sz="1200" kern="1200" dirty="0" smtClean="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rPr>
                        <a:t>Manage the complaints and requests of offenders.</a:t>
                      </a:r>
                    </a:p>
                    <a:p>
                      <a:r>
                        <a:rPr lang="en-ZA" sz="1200" kern="1200" dirty="0" smtClean="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rPr>
                        <a:t>Ensure the availability of the Dog Unit and EST during feeding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rea Commissioner / Area Coordinator Corrections  </a:t>
                      </a:r>
                      <a:r>
                        <a:rPr lang="en-ZA" sz="1100" kern="1200" dirty="0" smtClean="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rPr>
                        <a:t>/ Manager Security/ Head of Centre/ CC Ops/ CC Staff Support/ DH Security/ Unit Managers/ Supervisors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October 2020 and ongoing</a:t>
                      </a:r>
                    </a:p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 Anti Gang Strategy   implemented.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Hotspots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are closely monitored.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Offender movement controlled.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Surprise searches have been increased.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Complaints and requests are being attended to.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EST and Dog Unit is made available during feeding.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PLAN TO ADDRESS UNDER PERFORMANCE:</a:t>
            </a:r>
          </a:p>
          <a:p>
            <a:pPr>
              <a:spcAft>
                <a:spcPts val="600"/>
              </a:spcAft>
            </a:pPr>
            <a:r>
              <a:rPr lang="en-ZA" sz="2400" kern="0" dirty="0">
                <a:solidFill>
                  <a:schemeClr val="bg1"/>
                </a:solidFill>
                <a:latin typeface="Arial Black" panose="020B0A04020102020204" pitchFamily="34" charset="0"/>
              </a:rPr>
              <a:t>Percentage of inmates injured as a result of reported assaults in Correctional Facilities </a:t>
            </a:r>
            <a:endParaRPr lang="en-ZA" sz="3200" kern="0" dirty="0">
              <a:solidFill>
                <a:schemeClr val="bg1"/>
              </a:solidFill>
              <a:latin typeface="Arial Black" panose="020B0A04020102020204" pitchFamily="34" charset="0"/>
            </a:endParaRPr>
          </a:p>
          <a:p>
            <a:endParaRPr lang="en-GB" sz="3200" kern="0" dirty="0">
              <a:solidFill>
                <a:srgbClr val="FFFFFF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7075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231935" y="-5215267"/>
            <a:ext cx="1440000" cy="11870533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228600" y="1673596"/>
            <a:ext cx="121158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 smtClean="0">
                <a:solidFill>
                  <a:prstClr val="black"/>
                </a:solidFill>
              </a:rPr>
              <a:t>     4. PROJECT PLAN TO ADDRESS UNDER PERFORMANCE – </a:t>
            </a:r>
            <a:r>
              <a:rPr lang="en-GB" sz="1800" b="1" kern="0" dirty="0" smtClean="0"/>
              <a:t>MANAGEMENT AREA TO POPULATE</a:t>
            </a:r>
            <a:endParaRPr lang="en-ZA" sz="1800" b="1" kern="0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5766876"/>
              </p:ext>
            </p:extLst>
          </p:nvPr>
        </p:nvGraphicFramePr>
        <p:xfrm>
          <a:off x="215900" y="2042929"/>
          <a:ext cx="11671302" cy="4615767"/>
        </p:xfrm>
        <a:graphic>
          <a:graphicData uri="http://schemas.openxmlformats.org/drawingml/2006/table">
            <a:tbl>
              <a:tblPr firstRow="1" bandRow="1"/>
              <a:tblGrid>
                <a:gridCol w="1945217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496483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28194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519768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</a:tblGrid>
              <a:tr h="667422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CTIVITY / ACTIVITIES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SPONSIBILITY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IME FRAM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ROGRESS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1845225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Glencoe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ZA" sz="1200" b="0" kern="1200" dirty="0" smtClean="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rPr>
                        <a:t>Prevention of assaults and injuries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ZA" sz="1200" b="0" kern="1200" dirty="0" smtClean="0">
                          <a:solidFill>
                            <a:schemeClr val="dk1"/>
                          </a:solidFill>
                          <a:latin typeface="Calibri Light"/>
                        </a:rPr>
                        <a:t> Surprise visits by Executive management.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ZA" sz="1200" b="0" kern="1200" dirty="0" smtClean="0">
                          <a:solidFill>
                            <a:schemeClr val="dk1"/>
                          </a:solidFill>
                          <a:latin typeface="Calibri Light"/>
                        </a:rPr>
                        <a:t>Reopening of Recreational activities.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ZA" sz="1200" b="0" kern="1200" baseline="0" dirty="0" smtClean="0">
                          <a:solidFill>
                            <a:schemeClr val="dk1"/>
                          </a:solidFill>
                          <a:latin typeface="Calibri Light"/>
                        </a:rPr>
                        <a:t> Marketing of Educational programmes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ZA" sz="1200" b="0" kern="1200" baseline="0" dirty="0" smtClean="0">
                          <a:solidFill>
                            <a:schemeClr val="dk1"/>
                          </a:solidFill>
                          <a:latin typeface="Calibri Light"/>
                        </a:rPr>
                        <a:t>Visitations reopened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ZA" sz="1200" b="0" kern="1200" baseline="0" dirty="0" smtClean="0">
                          <a:solidFill>
                            <a:schemeClr val="dk1"/>
                          </a:solidFill>
                          <a:latin typeface="Calibri Light"/>
                        </a:rPr>
                        <a:t> </a:t>
                      </a:r>
                      <a:r>
                        <a:rPr lang="en-US" sz="1200" b="0" kern="1200" baseline="0" dirty="0" smtClean="0">
                          <a:solidFill>
                            <a:schemeClr val="dk1"/>
                          </a:solidFill>
                          <a:latin typeface="Calibri Light"/>
                        </a:rPr>
                        <a:t>Surprise searches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Area Commissioner / Area Coordinator Corrections  </a:t>
                      </a:r>
                      <a:r>
                        <a:rPr lang="en-ZA" sz="1200" kern="1200" dirty="0" smtClean="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rPr>
                        <a:t>/ Manager Security/ Head of Centre/ CC Ops/ CC Staff Support/ DH Security/ Unit Managers/ Supervisors</a:t>
                      </a:r>
                      <a:endParaRPr lang="en-US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October 2020 and ongoing</a:t>
                      </a:r>
                    </a:p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ZA" sz="1200" b="0" kern="1200" dirty="0" smtClean="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rPr>
                        <a:t>Assault</a:t>
                      </a:r>
                      <a:r>
                        <a:rPr lang="en-ZA" sz="1200" b="0" kern="1200" baseline="0" dirty="0" smtClean="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rPr>
                        <a:t> </a:t>
                      </a:r>
                      <a:r>
                        <a:rPr lang="en-ZA" sz="1200" b="0" kern="1200" dirty="0" smtClean="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rPr>
                        <a:t>Prevention Plans</a:t>
                      </a:r>
                      <a:r>
                        <a:rPr lang="en-ZA" sz="1200" b="0" kern="1200" baseline="0" dirty="0" smtClean="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rPr>
                        <a:t> have been implemented.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ZA" sz="1200" b="0" kern="1200" baseline="0" dirty="0" smtClean="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rPr>
                        <a:t> </a:t>
                      </a:r>
                      <a:r>
                        <a:rPr lang="en-ZA" sz="1200" b="0" kern="1200" dirty="0" smtClean="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rPr>
                        <a:t>Visits by some Executive</a:t>
                      </a:r>
                      <a:r>
                        <a:rPr lang="en-ZA" sz="1200" b="0" kern="1200" baseline="0" dirty="0" smtClean="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rPr>
                        <a:t> Management members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ZA" sz="1200" b="0" kern="1200" baseline="0" dirty="0" smtClean="0">
                          <a:solidFill>
                            <a:schemeClr val="dk1"/>
                          </a:solidFill>
                          <a:latin typeface="Calibri Light"/>
                        </a:rPr>
                        <a:t>Visitation reopened with close monitoring of visitors.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ZA" sz="1200" b="0" kern="1200" baseline="0" dirty="0" smtClean="0">
                          <a:solidFill>
                            <a:schemeClr val="dk1"/>
                          </a:solidFill>
                          <a:latin typeface="Calibri Light"/>
                        </a:rPr>
                        <a:t>Recreational activities arranged to keep inmates recreationally busy.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ZA" sz="1200" b="0" kern="1200" baseline="0" dirty="0" smtClean="0">
                          <a:solidFill>
                            <a:schemeClr val="dk1"/>
                          </a:solidFill>
                          <a:latin typeface="Calibri Light"/>
                        </a:rPr>
                        <a:t> Participation in Educational has been marketed 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1845225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Waterval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accent4"/>
                          </a:solidFill>
                        </a:rPr>
                        <a:t>1. Waterval</a:t>
                      </a:r>
                      <a:r>
                        <a:rPr lang="en-US" sz="1100" baseline="0" dirty="0" smtClean="0">
                          <a:solidFill>
                            <a:schemeClr val="accent4"/>
                          </a:solidFill>
                        </a:rPr>
                        <a:t> med. A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 smtClean="0">
                        <a:solidFill>
                          <a:schemeClr val="accent4"/>
                        </a:solidFill>
                      </a:endParaRP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accent4"/>
                          </a:solidFill>
                        </a:rPr>
                        <a:t>2. Waterval</a:t>
                      </a:r>
                      <a:r>
                        <a:rPr lang="en-US" sz="1100" baseline="0" dirty="0" smtClean="0">
                          <a:solidFill>
                            <a:schemeClr val="accent4"/>
                          </a:solidFill>
                        </a:rPr>
                        <a:t> med. B</a:t>
                      </a:r>
                      <a:endParaRPr lang="en-US" sz="1100" dirty="0" smtClean="0">
                        <a:solidFill>
                          <a:schemeClr val="accent4"/>
                        </a:solidFill>
                      </a:endParaRPr>
                    </a:p>
                    <a:p>
                      <a:pPr algn="l"/>
                      <a:endParaRPr lang="en-US" sz="1100" dirty="0" smtClean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 Effective implementation of Gang management strategy , continue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to hold security meetings . 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chemeClr val="accent4"/>
                          </a:solidFill>
                        </a:rPr>
                        <a:t>Close monitoring of offenders.</a:t>
                      </a:r>
                    </a:p>
                    <a:p>
                      <a:pPr algn="l">
                        <a:buFont typeface="Arial" pitchFamily="34" charset="0"/>
                        <a:buChar char="•"/>
                      </a:pPr>
                      <a:r>
                        <a:rPr lang="en-US" sz="1100" dirty="0" smtClean="0">
                          <a:solidFill>
                            <a:schemeClr val="accent4"/>
                          </a:solidFill>
                        </a:rPr>
                        <a:t>Proper handling of requests</a:t>
                      </a:r>
                      <a:r>
                        <a:rPr lang="en-US" sz="1100" baseline="0" dirty="0" smtClean="0">
                          <a:solidFill>
                            <a:schemeClr val="accent4"/>
                          </a:solidFill>
                        </a:rPr>
                        <a:t> s and complaints.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Area Commissioner / Area Coordinator Corrections  </a:t>
                      </a:r>
                      <a:r>
                        <a:rPr lang="en-ZA" sz="1100" kern="1200" dirty="0" smtClean="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rPr>
                        <a:t>/ Manager Security/ Head of Centre/ CC Ops/ CC Staff Support/ DH Security/ Unit Managers/ Supervisors</a:t>
                      </a:r>
                      <a:endParaRPr lang="en-US" sz="11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October 2020 and ongoing</a:t>
                      </a:r>
                    </a:p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Gang management strategy has been implemented.</a:t>
                      </a:r>
                    </a:p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Movement of offenders within Units is being monitored</a:t>
                      </a:r>
                    </a:p>
                    <a:p>
                      <a:pPr marL="0" marR="0" indent="0" algn="ctr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Complaints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</a:rPr>
                        <a:t> and requests from offenders are being attended and responded to.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PLAN TO ADDRESS UNDER PERFORMANCE:</a:t>
            </a:r>
          </a:p>
          <a:p>
            <a:pPr>
              <a:spcAft>
                <a:spcPts val="600"/>
              </a:spcAft>
            </a:pPr>
            <a:r>
              <a:rPr lang="en-ZA" sz="2400" kern="0" dirty="0">
                <a:solidFill>
                  <a:schemeClr val="bg1"/>
                </a:solidFill>
                <a:latin typeface="Arial Black" panose="020B0A04020102020204" pitchFamily="34" charset="0"/>
              </a:rPr>
              <a:t>Percentage of inmates injured as a result of reported assaults in Correctional Facilities </a:t>
            </a:r>
            <a:endParaRPr lang="en-ZA" sz="3200" kern="0" dirty="0">
              <a:solidFill>
                <a:schemeClr val="bg1"/>
              </a:solidFill>
              <a:latin typeface="Arial Black" panose="020B0A04020102020204" pitchFamily="34" charset="0"/>
            </a:endParaRPr>
          </a:p>
          <a:p>
            <a:endParaRPr lang="en-GB" sz="3200" kern="0" dirty="0">
              <a:solidFill>
                <a:srgbClr val="FFFFFF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7075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6"/>
          <p:cNvGrpSpPr/>
          <p:nvPr/>
        </p:nvGrpSpPr>
        <p:grpSpPr>
          <a:xfrm>
            <a:off x="65498" y="-21773"/>
            <a:ext cx="8392701" cy="6270173"/>
            <a:chOff x="65499" y="-21773"/>
            <a:chExt cx="7302314" cy="5185651"/>
          </a:xfrm>
        </p:grpSpPr>
        <p:sp>
          <p:nvSpPr>
            <p:cNvPr id="3" name="Rectangle: Top Corners Rounded 24">
              <a:extLst>
                <a:ext uri="{FF2B5EF4-FFF2-40B4-BE49-F238E27FC236}">
                  <a16:creationId xmlns="" xmlns:a16="http://schemas.microsoft.com/office/drawing/2014/main" id="{0DC4C310-37AB-43E0-9D8B-683A5AE91EB8}"/>
                </a:ext>
              </a:extLst>
            </p:cNvPr>
            <p:cNvSpPr/>
            <p:nvPr/>
          </p:nvSpPr>
          <p:spPr>
            <a:xfrm rot="10800000">
              <a:off x="575313" y="-10887"/>
              <a:ext cx="6282685" cy="5174765"/>
            </a:xfrm>
            <a:prstGeom prst="round2SameRect">
              <a:avLst>
                <a:gd name="adj1" fmla="val 13687"/>
                <a:gd name="adj2" fmla="val 0"/>
              </a:avLst>
            </a:prstGeom>
            <a:gradFill flip="none" rotWithShape="1">
              <a:gsLst>
                <a:gs pos="99000">
                  <a:srgbClr val="00CC99"/>
                </a:gs>
                <a:gs pos="1000">
                  <a:srgbClr val="009900"/>
                </a:gs>
              </a:gsLst>
              <a:lin ang="162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5" name="Isosceles Triangle 3"/>
            <p:cNvSpPr/>
            <p:nvPr/>
          </p:nvSpPr>
          <p:spPr bwMode="auto">
            <a:xfrm>
              <a:off x="6847113" y="-21773"/>
              <a:ext cx="520700" cy="1270000"/>
            </a:xfrm>
            <a:custGeom>
              <a:avLst/>
              <a:gdLst>
                <a:gd name="connsiteX0" fmla="*/ 0 w 431800"/>
                <a:gd name="connsiteY0" fmla="*/ 1143000 h 1143000"/>
                <a:gd name="connsiteX1" fmla="*/ 215900 w 431800"/>
                <a:gd name="connsiteY1" fmla="*/ 0 h 1143000"/>
                <a:gd name="connsiteX2" fmla="*/ 431800 w 431800"/>
                <a:gd name="connsiteY2" fmla="*/ 1143000 h 1143000"/>
                <a:gd name="connsiteX3" fmla="*/ 0 w 431800"/>
                <a:gd name="connsiteY3" fmla="*/ 1143000 h 1143000"/>
                <a:gd name="connsiteX0" fmla="*/ 0 w 647700"/>
                <a:gd name="connsiteY0" fmla="*/ 1117600 h 1117600"/>
                <a:gd name="connsiteX1" fmla="*/ 647700 w 647700"/>
                <a:gd name="connsiteY1" fmla="*/ 0 h 1117600"/>
                <a:gd name="connsiteX2" fmla="*/ 431800 w 647700"/>
                <a:gd name="connsiteY2" fmla="*/ 1117600 h 1117600"/>
                <a:gd name="connsiteX3" fmla="*/ 0 w 647700"/>
                <a:gd name="connsiteY3" fmla="*/ 1117600 h 1117600"/>
                <a:gd name="connsiteX0" fmla="*/ 0 w 647700"/>
                <a:gd name="connsiteY0" fmla="*/ 1117600 h 1244600"/>
                <a:gd name="connsiteX1" fmla="*/ 647700 w 647700"/>
                <a:gd name="connsiteY1" fmla="*/ 0 h 1244600"/>
                <a:gd name="connsiteX2" fmla="*/ 558800 w 647700"/>
                <a:gd name="connsiteY2" fmla="*/ 1244600 h 1244600"/>
                <a:gd name="connsiteX3" fmla="*/ 0 w 647700"/>
                <a:gd name="connsiteY3" fmla="*/ 1117600 h 1244600"/>
                <a:gd name="connsiteX0" fmla="*/ 0 w 647700"/>
                <a:gd name="connsiteY0" fmla="*/ 1270000 h 1397000"/>
                <a:gd name="connsiteX1" fmla="*/ 647700 w 647700"/>
                <a:gd name="connsiteY1" fmla="*/ 0 h 1397000"/>
                <a:gd name="connsiteX2" fmla="*/ 558800 w 647700"/>
                <a:gd name="connsiteY2" fmla="*/ 1397000 h 1397000"/>
                <a:gd name="connsiteX3" fmla="*/ 0 w 647700"/>
                <a:gd name="connsiteY3" fmla="*/ 1270000 h 1397000"/>
                <a:gd name="connsiteX0" fmla="*/ 0 w 469900"/>
                <a:gd name="connsiteY0" fmla="*/ 1701800 h 1701800"/>
                <a:gd name="connsiteX1" fmla="*/ 469900 w 469900"/>
                <a:gd name="connsiteY1" fmla="*/ 0 h 1701800"/>
                <a:gd name="connsiteX2" fmla="*/ 381000 w 469900"/>
                <a:gd name="connsiteY2" fmla="*/ 1397000 h 1701800"/>
                <a:gd name="connsiteX3" fmla="*/ 0 w 469900"/>
                <a:gd name="connsiteY3" fmla="*/ 1701800 h 1701800"/>
                <a:gd name="connsiteX0" fmla="*/ 0 w 596900"/>
                <a:gd name="connsiteY0" fmla="*/ 1346200 h 1397000"/>
                <a:gd name="connsiteX1" fmla="*/ 596900 w 596900"/>
                <a:gd name="connsiteY1" fmla="*/ 0 h 1397000"/>
                <a:gd name="connsiteX2" fmla="*/ 508000 w 596900"/>
                <a:gd name="connsiteY2" fmla="*/ 1397000 h 1397000"/>
                <a:gd name="connsiteX3" fmla="*/ 0 w 596900"/>
                <a:gd name="connsiteY3" fmla="*/ 1346200 h 1397000"/>
                <a:gd name="connsiteX0" fmla="*/ 0 w 596900"/>
                <a:gd name="connsiteY0" fmla="*/ 1346200 h 1397000"/>
                <a:gd name="connsiteX1" fmla="*/ 596900 w 596900"/>
                <a:gd name="connsiteY1" fmla="*/ 0 h 1397000"/>
                <a:gd name="connsiteX2" fmla="*/ 584200 w 596900"/>
                <a:gd name="connsiteY2" fmla="*/ 1397000 h 1397000"/>
                <a:gd name="connsiteX3" fmla="*/ 0 w 596900"/>
                <a:gd name="connsiteY3" fmla="*/ 1346200 h 1397000"/>
                <a:gd name="connsiteX0" fmla="*/ 0 w 584200"/>
                <a:gd name="connsiteY0" fmla="*/ 1193800 h 1244600"/>
                <a:gd name="connsiteX1" fmla="*/ 495300 w 584200"/>
                <a:gd name="connsiteY1" fmla="*/ 0 h 1244600"/>
                <a:gd name="connsiteX2" fmla="*/ 584200 w 584200"/>
                <a:gd name="connsiteY2" fmla="*/ 1244600 h 1244600"/>
                <a:gd name="connsiteX3" fmla="*/ 0 w 584200"/>
                <a:gd name="connsiteY3" fmla="*/ 1193800 h 1244600"/>
                <a:gd name="connsiteX0" fmla="*/ 0 w 584200"/>
                <a:gd name="connsiteY0" fmla="*/ 1219200 h 1270000"/>
                <a:gd name="connsiteX1" fmla="*/ 571500 w 584200"/>
                <a:gd name="connsiteY1" fmla="*/ 0 h 1270000"/>
                <a:gd name="connsiteX2" fmla="*/ 584200 w 584200"/>
                <a:gd name="connsiteY2" fmla="*/ 1270000 h 1270000"/>
                <a:gd name="connsiteX3" fmla="*/ 0 w 584200"/>
                <a:gd name="connsiteY3" fmla="*/ 1219200 h 1270000"/>
                <a:gd name="connsiteX0" fmla="*/ 469900 w 469900"/>
                <a:gd name="connsiteY0" fmla="*/ 1193800 h 1270000"/>
                <a:gd name="connsiteX1" fmla="*/ 0 w 469900"/>
                <a:gd name="connsiteY1" fmla="*/ 0 h 1270000"/>
                <a:gd name="connsiteX2" fmla="*/ 12700 w 469900"/>
                <a:gd name="connsiteY2" fmla="*/ 1270000 h 1270000"/>
                <a:gd name="connsiteX3" fmla="*/ 469900 w 469900"/>
                <a:gd name="connsiteY3" fmla="*/ 1193800 h 1270000"/>
                <a:gd name="connsiteX0" fmla="*/ 469900 w 469900"/>
                <a:gd name="connsiteY0" fmla="*/ 1193800 h 1270000"/>
                <a:gd name="connsiteX1" fmla="*/ 0 w 469900"/>
                <a:gd name="connsiteY1" fmla="*/ 0 h 1270000"/>
                <a:gd name="connsiteX2" fmla="*/ 12700 w 469900"/>
                <a:gd name="connsiteY2" fmla="*/ 1270000 h 1270000"/>
                <a:gd name="connsiteX3" fmla="*/ 469900 w 469900"/>
                <a:gd name="connsiteY3" fmla="*/ 1193800 h 1270000"/>
                <a:gd name="connsiteX0" fmla="*/ 495300 w 495300"/>
                <a:gd name="connsiteY0" fmla="*/ 1193800 h 1270000"/>
                <a:gd name="connsiteX1" fmla="*/ 0 w 495300"/>
                <a:gd name="connsiteY1" fmla="*/ 0 h 1270000"/>
                <a:gd name="connsiteX2" fmla="*/ 12700 w 495300"/>
                <a:gd name="connsiteY2" fmla="*/ 1270000 h 1270000"/>
                <a:gd name="connsiteX3" fmla="*/ 495300 w 495300"/>
                <a:gd name="connsiteY3" fmla="*/ 1193800 h 1270000"/>
                <a:gd name="connsiteX0" fmla="*/ 520700 w 520700"/>
                <a:gd name="connsiteY0" fmla="*/ 1270000 h 1270000"/>
                <a:gd name="connsiteX1" fmla="*/ 0 w 520700"/>
                <a:gd name="connsiteY1" fmla="*/ 0 h 1270000"/>
                <a:gd name="connsiteX2" fmla="*/ 12700 w 520700"/>
                <a:gd name="connsiteY2" fmla="*/ 1270000 h 1270000"/>
                <a:gd name="connsiteX3" fmla="*/ 520700 w 520700"/>
                <a:gd name="connsiteY3" fmla="*/ 1270000 h 1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0700" h="1270000">
                  <a:moveTo>
                    <a:pt x="520700" y="1270000"/>
                  </a:moveTo>
                  <a:lnTo>
                    <a:pt x="0" y="0"/>
                  </a:lnTo>
                  <a:lnTo>
                    <a:pt x="12700" y="1270000"/>
                  </a:lnTo>
                  <a:lnTo>
                    <a:pt x="520700" y="1270000"/>
                  </a:lnTo>
                  <a:close/>
                </a:path>
              </a:pathLst>
            </a:custGeom>
            <a:solidFill>
              <a:srgbClr val="009900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n-ZA" smtClean="0">
                <a:solidFill>
                  <a:srgbClr val="000000"/>
                </a:solidFill>
              </a:endParaRPr>
            </a:p>
          </p:txBody>
        </p:sp>
        <p:sp>
          <p:nvSpPr>
            <p:cNvPr id="6" name="Isosceles Triangle 3"/>
            <p:cNvSpPr/>
            <p:nvPr/>
          </p:nvSpPr>
          <p:spPr bwMode="auto">
            <a:xfrm rot="10800000" flipV="1">
              <a:off x="65499" y="-10887"/>
              <a:ext cx="520700" cy="1270000"/>
            </a:xfrm>
            <a:custGeom>
              <a:avLst/>
              <a:gdLst>
                <a:gd name="connsiteX0" fmla="*/ 0 w 431800"/>
                <a:gd name="connsiteY0" fmla="*/ 1143000 h 1143000"/>
                <a:gd name="connsiteX1" fmla="*/ 215900 w 431800"/>
                <a:gd name="connsiteY1" fmla="*/ 0 h 1143000"/>
                <a:gd name="connsiteX2" fmla="*/ 431800 w 431800"/>
                <a:gd name="connsiteY2" fmla="*/ 1143000 h 1143000"/>
                <a:gd name="connsiteX3" fmla="*/ 0 w 431800"/>
                <a:gd name="connsiteY3" fmla="*/ 1143000 h 1143000"/>
                <a:gd name="connsiteX0" fmla="*/ 0 w 647700"/>
                <a:gd name="connsiteY0" fmla="*/ 1117600 h 1117600"/>
                <a:gd name="connsiteX1" fmla="*/ 647700 w 647700"/>
                <a:gd name="connsiteY1" fmla="*/ 0 h 1117600"/>
                <a:gd name="connsiteX2" fmla="*/ 431800 w 647700"/>
                <a:gd name="connsiteY2" fmla="*/ 1117600 h 1117600"/>
                <a:gd name="connsiteX3" fmla="*/ 0 w 647700"/>
                <a:gd name="connsiteY3" fmla="*/ 1117600 h 1117600"/>
                <a:gd name="connsiteX0" fmla="*/ 0 w 647700"/>
                <a:gd name="connsiteY0" fmla="*/ 1117600 h 1244600"/>
                <a:gd name="connsiteX1" fmla="*/ 647700 w 647700"/>
                <a:gd name="connsiteY1" fmla="*/ 0 h 1244600"/>
                <a:gd name="connsiteX2" fmla="*/ 558800 w 647700"/>
                <a:gd name="connsiteY2" fmla="*/ 1244600 h 1244600"/>
                <a:gd name="connsiteX3" fmla="*/ 0 w 647700"/>
                <a:gd name="connsiteY3" fmla="*/ 1117600 h 1244600"/>
                <a:gd name="connsiteX0" fmla="*/ 0 w 647700"/>
                <a:gd name="connsiteY0" fmla="*/ 1270000 h 1397000"/>
                <a:gd name="connsiteX1" fmla="*/ 647700 w 647700"/>
                <a:gd name="connsiteY1" fmla="*/ 0 h 1397000"/>
                <a:gd name="connsiteX2" fmla="*/ 558800 w 647700"/>
                <a:gd name="connsiteY2" fmla="*/ 1397000 h 1397000"/>
                <a:gd name="connsiteX3" fmla="*/ 0 w 647700"/>
                <a:gd name="connsiteY3" fmla="*/ 1270000 h 1397000"/>
                <a:gd name="connsiteX0" fmla="*/ 0 w 469900"/>
                <a:gd name="connsiteY0" fmla="*/ 1701800 h 1701800"/>
                <a:gd name="connsiteX1" fmla="*/ 469900 w 469900"/>
                <a:gd name="connsiteY1" fmla="*/ 0 h 1701800"/>
                <a:gd name="connsiteX2" fmla="*/ 381000 w 469900"/>
                <a:gd name="connsiteY2" fmla="*/ 1397000 h 1701800"/>
                <a:gd name="connsiteX3" fmla="*/ 0 w 469900"/>
                <a:gd name="connsiteY3" fmla="*/ 1701800 h 1701800"/>
                <a:gd name="connsiteX0" fmla="*/ 0 w 596900"/>
                <a:gd name="connsiteY0" fmla="*/ 1346200 h 1397000"/>
                <a:gd name="connsiteX1" fmla="*/ 596900 w 596900"/>
                <a:gd name="connsiteY1" fmla="*/ 0 h 1397000"/>
                <a:gd name="connsiteX2" fmla="*/ 508000 w 596900"/>
                <a:gd name="connsiteY2" fmla="*/ 1397000 h 1397000"/>
                <a:gd name="connsiteX3" fmla="*/ 0 w 596900"/>
                <a:gd name="connsiteY3" fmla="*/ 1346200 h 1397000"/>
                <a:gd name="connsiteX0" fmla="*/ 0 w 596900"/>
                <a:gd name="connsiteY0" fmla="*/ 1346200 h 1397000"/>
                <a:gd name="connsiteX1" fmla="*/ 596900 w 596900"/>
                <a:gd name="connsiteY1" fmla="*/ 0 h 1397000"/>
                <a:gd name="connsiteX2" fmla="*/ 584200 w 596900"/>
                <a:gd name="connsiteY2" fmla="*/ 1397000 h 1397000"/>
                <a:gd name="connsiteX3" fmla="*/ 0 w 596900"/>
                <a:gd name="connsiteY3" fmla="*/ 1346200 h 1397000"/>
                <a:gd name="connsiteX0" fmla="*/ 0 w 584200"/>
                <a:gd name="connsiteY0" fmla="*/ 1193800 h 1244600"/>
                <a:gd name="connsiteX1" fmla="*/ 495300 w 584200"/>
                <a:gd name="connsiteY1" fmla="*/ 0 h 1244600"/>
                <a:gd name="connsiteX2" fmla="*/ 584200 w 584200"/>
                <a:gd name="connsiteY2" fmla="*/ 1244600 h 1244600"/>
                <a:gd name="connsiteX3" fmla="*/ 0 w 584200"/>
                <a:gd name="connsiteY3" fmla="*/ 1193800 h 1244600"/>
                <a:gd name="connsiteX0" fmla="*/ 0 w 584200"/>
                <a:gd name="connsiteY0" fmla="*/ 1219200 h 1270000"/>
                <a:gd name="connsiteX1" fmla="*/ 571500 w 584200"/>
                <a:gd name="connsiteY1" fmla="*/ 0 h 1270000"/>
                <a:gd name="connsiteX2" fmla="*/ 584200 w 584200"/>
                <a:gd name="connsiteY2" fmla="*/ 1270000 h 1270000"/>
                <a:gd name="connsiteX3" fmla="*/ 0 w 584200"/>
                <a:gd name="connsiteY3" fmla="*/ 1219200 h 1270000"/>
                <a:gd name="connsiteX0" fmla="*/ 469900 w 469900"/>
                <a:gd name="connsiteY0" fmla="*/ 1193800 h 1270000"/>
                <a:gd name="connsiteX1" fmla="*/ 0 w 469900"/>
                <a:gd name="connsiteY1" fmla="*/ 0 h 1270000"/>
                <a:gd name="connsiteX2" fmla="*/ 12700 w 469900"/>
                <a:gd name="connsiteY2" fmla="*/ 1270000 h 1270000"/>
                <a:gd name="connsiteX3" fmla="*/ 469900 w 469900"/>
                <a:gd name="connsiteY3" fmla="*/ 1193800 h 1270000"/>
                <a:gd name="connsiteX0" fmla="*/ 469900 w 469900"/>
                <a:gd name="connsiteY0" fmla="*/ 1193800 h 1270000"/>
                <a:gd name="connsiteX1" fmla="*/ 0 w 469900"/>
                <a:gd name="connsiteY1" fmla="*/ 0 h 1270000"/>
                <a:gd name="connsiteX2" fmla="*/ 12700 w 469900"/>
                <a:gd name="connsiteY2" fmla="*/ 1270000 h 1270000"/>
                <a:gd name="connsiteX3" fmla="*/ 469900 w 469900"/>
                <a:gd name="connsiteY3" fmla="*/ 1193800 h 1270000"/>
                <a:gd name="connsiteX0" fmla="*/ 495300 w 495300"/>
                <a:gd name="connsiteY0" fmla="*/ 1193800 h 1270000"/>
                <a:gd name="connsiteX1" fmla="*/ 0 w 495300"/>
                <a:gd name="connsiteY1" fmla="*/ 0 h 1270000"/>
                <a:gd name="connsiteX2" fmla="*/ 12700 w 495300"/>
                <a:gd name="connsiteY2" fmla="*/ 1270000 h 1270000"/>
                <a:gd name="connsiteX3" fmla="*/ 495300 w 495300"/>
                <a:gd name="connsiteY3" fmla="*/ 1193800 h 1270000"/>
                <a:gd name="connsiteX0" fmla="*/ 520700 w 520700"/>
                <a:gd name="connsiteY0" fmla="*/ 1270000 h 1270000"/>
                <a:gd name="connsiteX1" fmla="*/ 0 w 520700"/>
                <a:gd name="connsiteY1" fmla="*/ 0 h 1270000"/>
                <a:gd name="connsiteX2" fmla="*/ 12700 w 520700"/>
                <a:gd name="connsiteY2" fmla="*/ 1270000 h 1270000"/>
                <a:gd name="connsiteX3" fmla="*/ 520700 w 520700"/>
                <a:gd name="connsiteY3" fmla="*/ 1270000 h 1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0700" h="1270000">
                  <a:moveTo>
                    <a:pt x="520700" y="1270000"/>
                  </a:moveTo>
                  <a:lnTo>
                    <a:pt x="0" y="0"/>
                  </a:lnTo>
                  <a:lnTo>
                    <a:pt x="12700" y="1270000"/>
                  </a:lnTo>
                  <a:lnTo>
                    <a:pt x="520700" y="1270000"/>
                  </a:lnTo>
                  <a:close/>
                </a:path>
              </a:pathLst>
            </a:custGeom>
            <a:solidFill>
              <a:srgbClr val="009900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n-ZA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651437" y="1088571"/>
            <a:ext cx="7097748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6600" dirty="0" smtClean="0">
                <a:solidFill>
                  <a:prstClr val="white"/>
                </a:solidFill>
                <a:latin typeface="Arial Black" panose="020B0A04020102020204" pitchFamily="34" charset="0"/>
              </a:rPr>
              <a:t>PROGRAMME 3</a:t>
            </a:r>
          </a:p>
          <a:p>
            <a:pPr algn="ctr"/>
            <a:endParaRPr lang="en-ZA" sz="6600" dirty="0">
              <a:solidFill>
                <a:prstClr val="white"/>
              </a:solidFill>
              <a:latin typeface="Arial Black" panose="020B0A04020102020204" pitchFamily="34" charset="0"/>
            </a:endParaRPr>
          </a:p>
          <a:p>
            <a:pPr algn="ctr"/>
            <a:r>
              <a:rPr lang="en-ZA" sz="5400" dirty="0" smtClean="0">
                <a:solidFill>
                  <a:prstClr val="white"/>
                </a:solidFill>
                <a:latin typeface="Arial Black" panose="020B0A04020102020204" pitchFamily="34" charset="0"/>
              </a:rPr>
              <a:t>REHABILITATION</a:t>
            </a:r>
            <a:endParaRPr lang="en-ZA" sz="5400" dirty="0">
              <a:solidFill>
                <a:prstClr val="white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3666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7xKqHXCsmEqpYS9D3W9JOA"/>
</p:tagLst>
</file>

<file path=ppt/theme/theme1.xml><?xml version="1.0" encoding="utf-8"?>
<a:theme xmlns:a="http://schemas.openxmlformats.org/drawingml/2006/main" name="3_Blank">
  <a:themeElements>
    <a:clrScheme name="Blank 1">
      <a:dk1>
        <a:srgbClr val="000000"/>
      </a:dk1>
      <a:lt1>
        <a:srgbClr val="FFFFFF"/>
      </a:lt1>
      <a:dk2>
        <a:srgbClr val="000000"/>
      </a:dk2>
      <a:lt2>
        <a:srgbClr val="7D0900"/>
      </a:lt2>
      <a:accent1>
        <a:srgbClr val="808080"/>
      </a:accent1>
      <a:accent2>
        <a:srgbClr val="A0A0A0"/>
      </a:accent2>
      <a:accent3>
        <a:srgbClr val="FFFFFF"/>
      </a:accent3>
      <a:accent4>
        <a:srgbClr val="000000"/>
      </a:accent4>
      <a:accent5>
        <a:srgbClr val="C0C0C0"/>
      </a:accent5>
      <a:accent6>
        <a:srgbClr val="919191"/>
      </a:accent6>
      <a:hlink>
        <a:srgbClr val="B9B9B9"/>
      </a:hlink>
      <a:folHlink>
        <a:srgbClr val="DCDCDC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>
            <a:schemeClr val="bg2"/>
          </a:buClr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>
            <a:schemeClr val="bg2"/>
          </a:buClr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7D0900"/>
        </a:lt2>
        <a:accent1>
          <a:srgbClr val="808080"/>
        </a:accent1>
        <a:accent2>
          <a:srgbClr val="A0A0A0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919191"/>
        </a:accent6>
        <a:hlink>
          <a:srgbClr val="B9B9B9"/>
        </a:hlink>
        <a:folHlink>
          <a:srgbClr val="DCDCD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Custom 94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FABAB"/>
      </a:accent1>
      <a:accent2>
        <a:srgbClr val="E2583D"/>
      </a:accent2>
      <a:accent3>
        <a:srgbClr val="78D2D2"/>
      </a:accent3>
      <a:accent4>
        <a:srgbClr val="3B3939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onsolas-Verdana">
      <a:majorFont>
        <a:latin typeface="Consolas"/>
        <a:ea typeface=""/>
        <a:cs typeface=""/>
        <a:font script="Jpan" typeface="HG丸ｺﾞｼｯｸM-PRO"/>
        <a:font script="Hang" typeface="HY중고딕"/>
        <a:font script="Hans" typeface="华文楷体"/>
        <a:font script="Hant" typeface="新細明體"/>
        <a:font script="Arab" typeface="Tahoma"/>
        <a:font script="Hebr" typeface="Levenim MT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598</TotalTime>
  <Words>8964</Words>
  <Application>Microsoft Office PowerPoint</Application>
  <PresentationFormat>Custom</PresentationFormat>
  <Paragraphs>1714</Paragraphs>
  <Slides>48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0</vt:i4>
      </vt:variant>
      <vt:variant>
        <vt:lpstr>Slide Titles</vt:lpstr>
      </vt:variant>
      <vt:variant>
        <vt:i4>48</vt:i4>
      </vt:variant>
    </vt:vector>
  </HeadingPairs>
  <TitlesOfParts>
    <vt:vector size="50" baseType="lpstr">
      <vt:lpstr>3_Blank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Acer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 high level vision will be developed which will determine the required operating model…  Scope will include all core elements of DCS</dc:title>
  <dc:creator>Rowan Smyth</dc:creator>
  <cp:lastModifiedBy>Molokomme, Moutloane</cp:lastModifiedBy>
  <cp:revision>4162</cp:revision>
  <cp:lastPrinted>2019-10-31T17:02:31Z</cp:lastPrinted>
  <dcterms:created xsi:type="dcterms:W3CDTF">2011-05-16T12:44:01Z</dcterms:created>
  <dcterms:modified xsi:type="dcterms:W3CDTF">2020-11-20T10:32:09Z</dcterms:modified>
</cp:coreProperties>
</file>